
<file path=[Content_Types].xml><?xml version="1.0" encoding="utf-8"?>
<Types xmlns="http://schemas.openxmlformats.org/package/2006/content-types">
  <Default Extension="png" ContentType="image/pn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3.xml" ContentType="application/vnd.openxmlformats-officedocument.theme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theme/theme4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5.xml" ContentType="application/vnd.openxmlformats-officedocument.theme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5" r:id="rId4"/>
    <p:sldMasterId id="2147483678" r:id="rId5"/>
    <p:sldMasterId id="2147483694" r:id="rId6"/>
    <p:sldMasterId id="2147483714" r:id="rId7"/>
    <p:sldMasterId id="2147483726" r:id="rId8"/>
    <p:sldMasterId id="2147483738" r:id="rId9"/>
  </p:sldMasterIdLst>
  <p:notesMasterIdLst>
    <p:notesMasterId r:id="rId15"/>
  </p:notesMasterIdLst>
  <p:handoutMasterIdLst>
    <p:handoutMasterId r:id="rId16"/>
  </p:handoutMasterIdLst>
  <p:sldIdLst>
    <p:sldId id="273" r:id="rId10"/>
    <p:sldId id="275" r:id="rId11"/>
    <p:sldId id="271" r:id="rId12"/>
    <p:sldId id="274" r:id="rId13"/>
    <p:sldId id="272" r:id="rId14"/>
  </p:sldIdLst>
  <p:sldSz cx="12193588" cy="6858000"/>
  <p:notesSz cx="6858000" cy="9144000"/>
  <p:custDataLst>
    <p:tags r:id="rId17"/>
  </p:custDataLst>
  <p:defaultTextStyle>
    <a:defPPr>
      <a:defRPr lang="de-D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15" userDrawn="1">
          <p15:clr>
            <a:srgbClr val="A4A3A4"/>
          </p15:clr>
        </p15:guide>
        <p15:guide id="2" pos="3841" userDrawn="1">
          <p15:clr>
            <a:srgbClr val="A4A3A4"/>
          </p15:clr>
        </p15:guide>
        <p15:guide id="3" orient="horz" pos="1389" userDrawn="1">
          <p15:clr>
            <a:srgbClr val="A4A3A4"/>
          </p15:clr>
        </p15:guide>
        <p15:guide id="4" pos="57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5F"/>
    <a:srgbClr val="6B6562"/>
    <a:srgbClr val="558ED5"/>
    <a:srgbClr val="005493"/>
    <a:srgbClr val="6DB3D7"/>
    <a:srgbClr val="C9C4BD"/>
    <a:srgbClr val="B61026"/>
    <a:srgbClr val="D85406"/>
    <a:srgbClr val="731425"/>
    <a:srgbClr val="B50F2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6D1D8AE-05F5-425C-A6C6-7F777DC301D3}" v="7" dt="2024-03-24T13:22:27.5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5381" autoAdjust="0"/>
    <p:restoredTop sz="94664" autoAdjust="0"/>
  </p:normalViewPr>
  <p:slideViewPr>
    <p:cSldViewPr snapToObjects="1">
      <p:cViewPr varScale="1">
        <p:scale>
          <a:sx n="115" d="100"/>
          <a:sy n="115" d="100"/>
        </p:scale>
        <p:origin x="984" y="108"/>
      </p:cViewPr>
      <p:guideLst>
        <p:guide orient="horz" pos="2115"/>
        <p:guide pos="3841"/>
        <p:guide orient="horz" pos="1389"/>
        <p:guide pos="57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 snapToObjects="1">
      <p:cViewPr varScale="1">
        <p:scale>
          <a:sx n="78" d="100"/>
          <a:sy n="78" d="100"/>
        </p:scale>
        <p:origin x="-3942" y="-78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4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23" Type="http://schemas.microsoft.com/office/2015/10/relationships/revisionInfo" Target="revisionInfo.xml"/><Relationship Id="rId10" Type="http://schemas.openxmlformats.org/officeDocument/2006/relationships/slide" Target="slides/slide1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anja Hille" userId="2d35ebd5148c5acd" providerId="LiveId" clId="{36D1D8AE-05F5-425C-A6C6-7F777DC301D3}"/>
    <pc:docChg chg="undo custSel addSld modSld delSection">
      <pc:chgData name="Tanja Hille" userId="2d35ebd5148c5acd" providerId="LiveId" clId="{36D1D8AE-05F5-425C-A6C6-7F777DC301D3}" dt="2024-03-24T13:59:26.836" v="432" actId="20577"/>
      <pc:docMkLst>
        <pc:docMk/>
      </pc:docMkLst>
      <pc:sldChg chg="addSp delSp modSp mod">
        <pc:chgData name="Tanja Hille" userId="2d35ebd5148c5acd" providerId="LiveId" clId="{36D1D8AE-05F5-425C-A6C6-7F777DC301D3}" dt="2024-03-24T13:22:12.584" v="349" actId="1076"/>
        <pc:sldMkLst>
          <pc:docMk/>
          <pc:sldMk cId="349721829" sldId="271"/>
        </pc:sldMkLst>
        <pc:spChg chg="add mod">
          <ac:chgData name="Tanja Hille" userId="2d35ebd5148c5acd" providerId="LiveId" clId="{36D1D8AE-05F5-425C-A6C6-7F777DC301D3}" dt="2024-03-24T13:22:12.584" v="349" actId="1076"/>
          <ac:spMkLst>
            <pc:docMk/>
            <pc:sldMk cId="349721829" sldId="271"/>
            <ac:spMk id="4" creationId="{D616CEFC-7BBA-669F-5B4A-01586D5F4918}"/>
          </ac:spMkLst>
        </pc:spChg>
        <pc:spChg chg="mod">
          <ac:chgData name="Tanja Hille" userId="2d35ebd5148c5acd" providerId="LiveId" clId="{36D1D8AE-05F5-425C-A6C6-7F777DC301D3}" dt="2024-03-24T13:21:49.994" v="332" actId="20577"/>
          <ac:spMkLst>
            <pc:docMk/>
            <pc:sldMk cId="349721829" sldId="271"/>
            <ac:spMk id="43" creationId="{00000000-0000-0000-0000-000000000000}"/>
          </ac:spMkLst>
        </pc:spChg>
        <pc:picChg chg="del">
          <ac:chgData name="Tanja Hille" userId="2d35ebd5148c5acd" providerId="LiveId" clId="{36D1D8AE-05F5-425C-A6C6-7F777DC301D3}" dt="2024-03-24T13:21:09.745" v="282" actId="478"/>
          <ac:picMkLst>
            <pc:docMk/>
            <pc:sldMk cId="349721829" sldId="271"/>
            <ac:picMk id="2" creationId="{00000000-0000-0000-0000-000000000000}"/>
          </ac:picMkLst>
        </pc:picChg>
      </pc:sldChg>
      <pc:sldChg chg="addSp delSp modSp mod">
        <pc:chgData name="Tanja Hille" userId="2d35ebd5148c5acd" providerId="LiveId" clId="{36D1D8AE-05F5-425C-A6C6-7F777DC301D3}" dt="2024-03-24T13:22:38.663" v="387" actId="20577"/>
        <pc:sldMkLst>
          <pc:docMk/>
          <pc:sldMk cId="2777976803" sldId="272"/>
        </pc:sldMkLst>
        <pc:spChg chg="add del mod">
          <ac:chgData name="Tanja Hille" userId="2d35ebd5148c5acd" providerId="LiveId" clId="{36D1D8AE-05F5-425C-A6C6-7F777DC301D3}" dt="2024-03-24T13:22:27.216" v="363" actId="478"/>
          <ac:spMkLst>
            <pc:docMk/>
            <pc:sldMk cId="2777976803" sldId="272"/>
            <ac:spMk id="3" creationId="{FA491791-DABB-753B-3525-BEBEA288EE88}"/>
          </ac:spMkLst>
        </pc:spChg>
        <pc:spChg chg="add mod">
          <ac:chgData name="Tanja Hille" userId="2d35ebd5148c5acd" providerId="LiveId" clId="{36D1D8AE-05F5-425C-A6C6-7F777DC301D3}" dt="2024-03-24T13:22:30.386" v="374" actId="20577"/>
          <ac:spMkLst>
            <pc:docMk/>
            <pc:sldMk cId="2777976803" sldId="272"/>
            <ac:spMk id="4" creationId="{5EC572A7-4290-8A96-C25D-E6D0C093E6C1}"/>
          </ac:spMkLst>
        </pc:spChg>
        <pc:spChg chg="mod">
          <ac:chgData name="Tanja Hille" userId="2d35ebd5148c5acd" providerId="LiveId" clId="{36D1D8AE-05F5-425C-A6C6-7F777DC301D3}" dt="2024-03-24T13:22:38.663" v="387" actId="20577"/>
          <ac:spMkLst>
            <pc:docMk/>
            <pc:sldMk cId="2777976803" sldId="272"/>
            <ac:spMk id="43" creationId="{00000000-0000-0000-0000-000000000000}"/>
          </ac:spMkLst>
        </pc:spChg>
        <pc:picChg chg="del">
          <ac:chgData name="Tanja Hille" userId="2d35ebd5148c5acd" providerId="LiveId" clId="{36D1D8AE-05F5-425C-A6C6-7F777DC301D3}" dt="2024-03-24T13:22:26.070" v="362" actId="478"/>
          <ac:picMkLst>
            <pc:docMk/>
            <pc:sldMk cId="2777976803" sldId="272"/>
            <ac:picMk id="2" creationId="{00000000-0000-0000-0000-000000000000}"/>
          </ac:picMkLst>
        </pc:picChg>
      </pc:sldChg>
      <pc:sldChg chg="addSp delSp modSp new mod">
        <pc:chgData name="Tanja Hille" userId="2d35ebd5148c5acd" providerId="LiveId" clId="{36D1D8AE-05F5-425C-A6C6-7F777DC301D3}" dt="2024-03-24T13:59:07.992" v="409"/>
        <pc:sldMkLst>
          <pc:docMk/>
          <pc:sldMk cId="3946703796" sldId="273"/>
        </pc:sldMkLst>
        <pc:spChg chg="mod">
          <ac:chgData name="Tanja Hille" userId="2d35ebd5148c5acd" providerId="LiveId" clId="{36D1D8AE-05F5-425C-A6C6-7F777DC301D3}" dt="2024-03-21T16:13:48" v="88" actId="6549"/>
          <ac:spMkLst>
            <pc:docMk/>
            <pc:sldMk cId="3946703796" sldId="273"/>
            <ac:spMk id="2" creationId="{BD906E69-90FD-76AC-184B-B645E475C67D}"/>
          </ac:spMkLst>
        </pc:spChg>
        <pc:spChg chg="mod">
          <ac:chgData name="Tanja Hille" userId="2d35ebd5148c5acd" providerId="LiveId" clId="{36D1D8AE-05F5-425C-A6C6-7F777DC301D3}" dt="2024-03-21T16:14:24.684" v="181" actId="20577"/>
          <ac:spMkLst>
            <pc:docMk/>
            <pc:sldMk cId="3946703796" sldId="273"/>
            <ac:spMk id="3" creationId="{BB56BDE1-BB88-96E2-BE1B-6586ABE2AD1C}"/>
          </ac:spMkLst>
        </pc:spChg>
        <pc:spChg chg="del">
          <ac:chgData name="Tanja Hille" userId="2d35ebd5148c5acd" providerId="LiveId" clId="{36D1D8AE-05F5-425C-A6C6-7F777DC301D3}" dt="2024-03-21T16:26:16.711" v="277" actId="478"/>
          <ac:spMkLst>
            <pc:docMk/>
            <pc:sldMk cId="3946703796" sldId="273"/>
            <ac:spMk id="5" creationId="{C1A46FD3-1A78-182E-557D-1DF5ED562A73}"/>
          </ac:spMkLst>
        </pc:spChg>
        <pc:spChg chg="add mod">
          <ac:chgData name="Tanja Hille" userId="2d35ebd5148c5acd" providerId="LiveId" clId="{36D1D8AE-05F5-425C-A6C6-7F777DC301D3}" dt="2024-03-21T16:25:20.824" v="239" actId="1076"/>
          <ac:spMkLst>
            <pc:docMk/>
            <pc:sldMk cId="3946703796" sldId="273"/>
            <ac:spMk id="6" creationId="{690DC447-C020-67E9-F198-50E85904AF41}"/>
          </ac:spMkLst>
        </pc:spChg>
        <pc:spChg chg="add mod">
          <ac:chgData name="Tanja Hille" userId="2d35ebd5148c5acd" providerId="LiveId" clId="{36D1D8AE-05F5-425C-A6C6-7F777DC301D3}" dt="2024-03-21T16:26:06.563" v="276" actId="1037"/>
          <ac:spMkLst>
            <pc:docMk/>
            <pc:sldMk cId="3946703796" sldId="273"/>
            <ac:spMk id="7" creationId="{E32EF73D-6795-7FDE-09BF-148B5FA1FFFF}"/>
          </ac:spMkLst>
        </pc:spChg>
        <pc:spChg chg="add mod">
          <ac:chgData name="Tanja Hille" userId="2d35ebd5148c5acd" providerId="LiveId" clId="{36D1D8AE-05F5-425C-A6C6-7F777DC301D3}" dt="2024-03-24T13:59:07.992" v="409"/>
          <ac:spMkLst>
            <pc:docMk/>
            <pc:sldMk cId="3946703796" sldId="273"/>
            <ac:spMk id="8" creationId="{610DD92D-A863-9834-1810-B7A587659C62}"/>
          </ac:spMkLst>
        </pc:spChg>
        <pc:spChg chg="add mod">
          <ac:chgData name="Tanja Hille" userId="2d35ebd5148c5acd" providerId="LiveId" clId="{36D1D8AE-05F5-425C-A6C6-7F777DC301D3}" dt="2024-03-24T13:59:04.215" v="408" actId="20577"/>
          <ac:spMkLst>
            <pc:docMk/>
            <pc:sldMk cId="3946703796" sldId="273"/>
            <ac:spMk id="9" creationId="{B6DAC2A4-D9B6-8CBA-7841-D5395D5E93B3}"/>
          </ac:spMkLst>
        </pc:spChg>
        <pc:picChg chg="add mod">
          <ac:chgData name="Tanja Hille" userId="2d35ebd5148c5acd" providerId="LiveId" clId="{36D1D8AE-05F5-425C-A6C6-7F777DC301D3}" dt="2024-03-21T16:23:59.032" v="187" actId="1076"/>
          <ac:picMkLst>
            <pc:docMk/>
            <pc:sldMk cId="3946703796" sldId="273"/>
            <ac:picMk id="11" creationId="{5435F2AC-705F-FCEA-5514-753326DBE0E2}"/>
          </ac:picMkLst>
        </pc:picChg>
      </pc:sldChg>
      <pc:sldChg chg="addSp delSp modSp add mod">
        <pc:chgData name="Tanja Hille" userId="2d35ebd5148c5acd" providerId="LiveId" clId="{36D1D8AE-05F5-425C-A6C6-7F777DC301D3}" dt="2024-03-24T13:22:21.830" v="361" actId="20577"/>
        <pc:sldMkLst>
          <pc:docMk/>
          <pc:sldMk cId="337387848" sldId="274"/>
        </pc:sldMkLst>
        <pc:spChg chg="add del mod">
          <ac:chgData name="Tanja Hille" userId="2d35ebd5148c5acd" providerId="LiveId" clId="{36D1D8AE-05F5-425C-A6C6-7F777DC301D3}" dt="2024-03-24T13:22:17.206" v="350" actId="478"/>
          <ac:spMkLst>
            <pc:docMk/>
            <pc:sldMk cId="337387848" sldId="274"/>
            <ac:spMk id="4" creationId="{9BCE9119-A570-3B99-CCA0-65A02C782CC8}"/>
          </ac:spMkLst>
        </pc:spChg>
        <pc:spChg chg="add mod">
          <ac:chgData name="Tanja Hille" userId="2d35ebd5148c5acd" providerId="LiveId" clId="{36D1D8AE-05F5-425C-A6C6-7F777DC301D3}" dt="2024-03-24T13:22:21.830" v="361" actId="20577"/>
          <ac:spMkLst>
            <pc:docMk/>
            <pc:sldMk cId="337387848" sldId="274"/>
            <ac:spMk id="7" creationId="{FFABB1B0-4477-45E5-47BA-E3C8E0ADC8CB}"/>
          </ac:spMkLst>
        </pc:spChg>
        <pc:spChg chg="mod">
          <ac:chgData name="Tanja Hille" userId="2d35ebd5148c5acd" providerId="LiveId" clId="{36D1D8AE-05F5-425C-A6C6-7F777DC301D3}" dt="2024-03-24T13:22:04.368" v="348" actId="20577"/>
          <ac:spMkLst>
            <pc:docMk/>
            <pc:sldMk cId="337387848" sldId="274"/>
            <ac:spMk id="43" creationId="{00000000-0000-0000-0000-000000000000}"/>
          </ac:spMkLst>
        </pc:spChg>
        <pc:picChg chg="del">
          <ac:chgData name="Tanja Hille" userId="2d35ebd5148c5acd" providerId="LiveId" clId="{36D1D8AE-05F5-425C-A6C6-7F777DC301D3}" dt="2024-03-24T13:21:55.386" v="333" actId="478"/>
          <ac:picMkLst>
            <pc:docMk/>
            <pc:sldMk cId="337387848" sldId="274"/>
            <ac:picMk id="2" creationId="{00000000-0000-0000-0000-000000000000}"/>
          </ac:picMkLst>
        </pc:picChg>
      </pc:sldChg>
      <pc:sldChg chg="delSp modSp new mod">
        <pc:chgData name="Tanja Hille" userId="2d35ebd5148c5acd" providerId="LiveId" clId="{36D1D8AE-05F5-425C-A6C6-7F777DC301D3}" dt="2024-03-24T13:59:26.836" v="432" actId="20577"/>
        <pc:sldMkLst>
          <pc:docMk/>
          <pc:sldMk cId="2136109926" sldId="275"/>
        </pc:sldMkLst>
        <pc:spChg chg="mod">
          <ac:chgData name="Tanja Hille" userId="2d35ebd5148c5acd" providerId="LiveId" clId="{36D1D8AE-05F5-425C-A6C6-7F777DC301D3}" dt="2024-03-24T13:59:26.836" v="432" actId="20577"/>
          <ac:spMkLst>
            <pc:docMk/>
            <pc:sldMk cId="2136109926" sldId="275"/>
            <ac:spMk id="3" creationId="{8D4EB443-78CA-73CB-4F72-D7194B3B2719}"/>
          </ac:spMkLst>
        </pc:spChg>
        <pc:spChg chg="del">
          <ac:chgData name="Tanja Hille" userId="2d35ebd5148c5acd" providerId="LiveId" clId="{36D1D8AE-05F5-425C-A6C6-7F777DC301D3}" dt="2024-03-24T13:59:22.261" v="411" actId="478"/>
          <ac:spMkLst>
            <pc:docMk/>
            <pc:sldMk cId="2136109926" sldId="275"/>
            <ac:spMk id="6" creationId="{E4ACEEC1-F933-ADB4-3B0C-891F8F7680E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039B7E-12BB-1C49-AAD5-85F9101F190D}" type="datetimeFigureOut">
              <a:rPr lang="de-DE" smtClean="0"/>
              <a:pPr/>
              <a:t>25.03.2024</a:t>
            </a:fld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5F3B9D-A4B1-754F-801C-E7ABCFDCD2F3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86558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68E9C1-255A-2A4B-B0F4-AADD356B0144}" type="datetimeFigureOut">
              <a:rPr lang="de-DE" smtClean="0"/>
              <a:pPr/>
              <a:t>25.03.2024</a:t>
            </a:fld>
            <a:endParaRPr lang="de-DE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Click to edit Master text styles</a:t>
            </a:r>
          </a:p>
          <a:p>
            <a:pPr lvl="1"/>
            <a:r>
              <a:rPr lang="de-DE"/>
              <a:t>Second level</a:t>
            </a:r>
          </a:p>
          <a:p>
            <a:pPr lvl="2"/>
            <a:r>
              <a:rPr lang="de-DE"/>
              <a:t>Third level</a:t>
            </a:r>
          </a:p>
          <a:p>
            <a:pPr lvl="3"/>
            <a:r>
              <a:rPr lang="de-DE"/>
              <a:t>Fourth level</a:t>
            </a:r>
          </a:p>
          <a:p>
            <a:pPr lvl="4"/>
            <a:r>
              <a:rPr lang="de-DE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BD9D919-A04C-454A-A232-30865D4F8E72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131471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325395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946116"/>
            <a:ext cx="11521500" cy="76677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24000" y="1836000"/>
            <a:ext cx="11521500" cy="446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BBC8F3C5-3AA4-4BEA-BB2B-197D3C6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CC1F68-8C51-483B-BDAD-39DC49F62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2735254"/>
            <a:ext cx="9000000" cy="346873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6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20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/>
              <a:t>Fließtext Segoe erste </a:t>
            </a:r>
            <a:r>
              <a:rPr lang="de-DE" dirty="0"/>
              <a:t>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B10777-CCC7-4788-8DDB-56FBA5C7D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4EB5BC-032F-4E56-AFA0-B77B0F0F81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325395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946116"/>
            <a:ext cx="11521500" cy="76677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24000" y="1836000"/>
            <a:ext cx="11521500" cy="446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16" name="Fußzeilenplatzhalter 15">
            <a:extLst>
              <a:ext uri="{FF2B5EF4-FFF2-40B4-BE49-F238E27FC236}">
                <a16:creationId xmlns:a16="http://schemas.microsoft.com/office/drawing/2014/main" id="{031762CF-6584-44E1-86FF-415EA31281B0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BBC8F3C5-3AA4-4BEA-BB2B-197D3C6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6951496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 Alternati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5364608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5985328"/>
            <a:ext cx="11521500" cy="396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3588" cy="47971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225E27-6D80-406F-8700-FD384698AC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0464757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584000" y="1968481"/>
            <a:ext cx="9000000" cy="1350981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493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Headline bearbeiten</a:t>
            </a:r>
            <a:br>
              <a:rPr lang="de-DE" dirty="0"/>
            </a:br>
            <a:r>
              <a:rPr lang="de-DE" dirty="0"/>
              <a:t>2. Zeile Headline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3319461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25A665-3048-4197-A739-649B1AC504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10505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605A9C-DA61-424E-9E79-D5B0D0AF6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DD89D19-93DF-407D-94D6-A10AA320A0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84000" y="2462400"/>
            <a:ext cx="900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1130AEB-53AE-4FBB-9C13-BEB4B4A70F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73679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4212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940000" y="434935"/>
            <a:ext cx="5904000" cy="58531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704A55-2A38-4CC0-B1B0-72D9517B3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4212000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E7E433-890C-44AA-B0C8-F88C15247A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4000" y="2462213"/>
            <a:ext cx="4212000" cy="382589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8119B5E-5B84-4530-B562-7D1963DCE9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907517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-qu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4476773"/>
            <a:ext cx="9000000" cy="37623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84000" y="434935"/>
            <a:ext cx="9000000" cy="303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9E2298B-FEDC-4E5D-A69E-74BF57DB3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3794400"/>
            <a:ext cx="9000000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F0432E6-F543-444B-AE38-F2B469D19B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84000" y="5086351"/>
            <a:ext cx="9000000" cy="11916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A71209E-7F6B-47E9-9C55-C55DF21EC3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404009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Dia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iagrammplatzhalter 15"/>
          <p:cNvSpPr>
            <a:spLocks noGrp="1"/>
          </p:cNvSpPr>
          <p:nvPr>
            <p:ph type="chart" sz="quarter" idx="15"/>
          </p:nvPr>
        </p:nvSpPr>
        <p:spPr>
          <a:xfrm>
            <a:off x="1584000" y="1566863"/>
            <a:ext cx="9000000" cy="4162456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r>
              <a:rPr lang="de-DE" sz="1800" dirty="0"/>
              <a:t>Diagramm durch Klicken auf Symbol hinzufügen</a:t>
            </a:r>
            <a:endParaRPr lang="de-DE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900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1FCCDE-CE93-410F-B5E9-5749FD14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BFD1D0-EA02-4DD0-BC14-4434ECA6A6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741386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1026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584000" y="434935"/>
            <a:ext cx="10260000" cy="5221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3775122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 Alternati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5364608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5985328"/>
            <a:ext cx="11521500" cy="396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3588" cy="47971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225E27-6D80-406F-8700-FD384698AC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649903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 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5802346"/>
            <a:ext cx="1152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3588" cy="56562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838682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CC1F68-8C51-483B-BDAD-39DC49F62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49425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2735254"/>
            <a:ext cx="9000000" cy="346873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6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20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/>
              <a:t>Fließtext Segoe erste </a:t>
            </a:r>
            <a:r>
              <a:rPr lang="de-DE" dirty="0"/>
              <a:t>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B10777-CCC7-4788-8DDB-56FBA5C7D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4EB5BC-032F-4E56-AFA0-B77B0F0F81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5723754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lie 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e Placeholder 1"/>
          <p:cNvSpPr>
            <a:spLocks noGrp="1"/>
          </p:cNvSpPr>
          <p:nvPr>
            <p:ph type="dt" sz="half" idx="2"/>
          </p:nvPr>
        </p:nvSpPr>
        <p:spPr>
          <a:xfrm>
            <a:off x="648085" y="6408781"/>
            <a:ext cx="817138" cy="1440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rgbClr val="00325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1598608" y="6408781"/>
            <a:ext cx="8840351" cy="144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325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Veränderungswerkstatt DigA</a:t>
            </a:r>
            <a:endParaRPr lang="de-DE" dirty="0"/>
          </a:p>
        </p:txBody>
      </p:sp>
      <p:sp>
        <p:nvSpPr>
          <p:cNvPr id="9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336045" y="6408781"/>
            <a:ext cx="340832" cy="14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800">
                <a:solidFill>
                  <a:srgbClr val="00325F"/>
                </a:solidFill>
                <a:latin typeface="+mn-lt"/>
                <a:cs typeface="Arial"/>
              </a:defRPr>
            </a:lvl1pPr>
          </a:lstStyle>
          <a:p>
            <a:fld id="{74CEF446-5D9F-A549-AF84-3E6E8818BD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130290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351334" y="1968481"/>
            <a:ext cx="11506403" cy="1350981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493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Headline bearbeiten</a:t>
            </a:r>
            <a:br>
              <a:rPr lang="de-DE" dirty="0"/>
            </a:br>
            <a:r>
              <a:rPr lang="de-DE" dirty="0"/>
              <a:t>2. Zeile Headline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51334" y="3319461"/>
            <a:ext cx="1149092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11" name="Date Placeholder 1"/>
          <p:cNvSpPr>
            <a:spLocks noGrp="1"/>
          </p:cNvSpPr>
          <p:nvPr>
            <p:ph type="dt" sz="half" idx="12"/>
          </p:nvPr>
        </p:nvSpPr>
        <p:spPr>
          <a:xfrm>
            <a:off x="648085" y="6408781"/>
            <a:ext cx="817138" cy="144000"/>
          </a:xfrm>
          <a:prstGeom prst="rect">
            <a:avLst/>
          </a:prstGeom>
        </p:spPr>
        <p:txBody>
          <a:bodyPr lIns="0" tIns="0" rIns="0" bIns="0"/>
          <a:lstStyle>
            <a:lvl1pPr algn="r">
              <a:defRPr sz="800">
                <a:solidFill>
                  <a:srgbClr val="00325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2" name="Footer Placeholder 2"/>
          <p:cNvSpPr>
            <a:spLocks noGrp="1"/>
          </p:cNvSpPr>
          <p:nvPr>
            <p:ph type="ftr" sz="quarter" idx="13"/>
          </p:nvPr>
        </p:nvSpPr>
        <p:spPr>
          <a:xfrm>
            <a:off x="1598608" y="6408781"/>
            <a:ext cx="8840351" cy="144000"/>
          </a:xfrm>
          <a:prstGeom prst="rect">
            <a:avLst/>
          </a:prstGeom>
        </p:spPr>
        <p:txBody>
          <a:bodyPr lIns="0" tIns="0" rIns="0" bIns="0"/>
          <a:lstStyle>
            <a:lvl1pPr>
              <a:defRPr sz="800">
                <a:solidFill>
                  <a:srgbClr val="00325F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de-DE"/>
              <a:t>Veränderungswerkstatt DigA</a:t>
            </a:r>
            <a:endParaRPr lang="de-DE" dirty="0"/>
          </a:p>
        </p:txBody>
      </p:sp>
      <p:sp>
        <p:nvSpPr>
          <p:cNvPr id="1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336045" y="6408781"/>
            <a:ext cx="340832" cy="144000"/>
          </a:xfrm>
          <a:prstGeom prst="rect">
            <a:avLst/>
          </a:prstGeom>
        </p:spPr>
        <p:txBody>
          <a:bodyPr lIns="0" tIns="0" rIns="0" bIns="0"/>
          <a:lstStyle>
            <a:lvl1pPr algn="l">
              <a:defRPr sz="800">
                <a:solidFill>
                  <a:srgbClr val="00325F"/>
                </a:solidFill>
                <a:latin typeface="+mn-lt"/>
                <a:cs typeface="Arial"/>
              </a:defRPr>
            </a:lvl1pPr>
          </a:lstStyle>
          <a:p>
            <a:fld id="{74CEF446-5D9F-A549-AF84-3E6E8818BDCF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6363314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664896" y="4786325"/>
            <a:ext cx="10016719" cy="1143009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spcBef>
                <a:spcPts val="0"/>
              </a:spcBef>
              <a:buNone/>
              <a:defRPr sz="1350" baseline="0">
                <a:solidFill>
                  <a:schemeClr val="tx1"/>
                </a:solidFill>
                <a:latin typeface="Arial" pitchFamily="34" charset="0"/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dirty="0"/>
              <a:t>Art des </a:t>
            </a:r>
            <a:r>
              <a:rPr lang="en-US" noProof="0" dirty="0" err="1"/>
              <a:t>Dokuments</a:t>
            </a:r>
            <a:r>
              <a:rPr lang="en-US" noProof="0" dirty="0"/>
              <a:t> (</a:t>
            </a:r>
            <a:r>
              <a:rPr lang="en-US" noProof="0" dirty="0" err="1"/>
              <a:t>z.B</a:t>
            </a:r>
            <a:r>
              <a:rPr lang="en-US" noProof="0" dirty="0"/>
              <a:t>. </a:t>
            </a:r>
            <a:r>
              <a:rPr lang="en-US" noProof="0" dirty="0" err="1"/>
              <a:t>Angebot</a:t>
            </a:r>
            <a:r>
              <a:rPr lang="en-US" noProof="0" dirty="0"/>
              <a:t>)</a:t>
            </a:r>
            <a:endParaRPr lang="de-DE" noProof="0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6" y="2494351"/>
            <a:ext cx="10016719" cy="2220533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800" b="1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tx1"/>
                </a:solidFill>
              </a:defRPr>
            </a:lvl2pPr>
            <a:lvl5pPr>
              <a:defRPr/>
            </a:lvl5pPr>
          </a:lstStyle>
          <a:p>
            <a:pPr lvl="0"/>
            <a:r>
              <a:rPr lang="en-US" dirty="0" err="1"/>
              <a:t>Titel</a:t>
            </a:r>
            <a:endParaRPr lang="en-US" dirty="0"/>
          </a:p>
        </p:txBody>
      </p:sp>
      <p:sp>
        <p:nvSpPr>
          <p:cNvPr id="19" name="Title 18"/>
          <p:cNvSpPr>
            <a:spLocks noGrp="1"/>
          </p:cNvSpPr>
          <p:nvPr>
            <p:ph type="title" hasCustomPrompt="1"/>
          </p:nvPr>
        </p:nvSpPr>
        <p:spPr bwMode="gray">
          <a:xfrm>
            <a:off x="1664896" y="1773238"/>
            <a:ext cx="10016719" cy="652534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algn="l">
              <a:spcBef>
                <a:spcPts val="0"/>
              </a:spcBef>
              <a:defRPr sz="135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r>
              <a:rPr lang="en-US" dirty="0" err="1"/>
              <a:t>Kunde</a:t>
            </a:r>
            <a:endParaRPr lang="de-DE" dirty="0"/>
          </a:p>
        </p:txBody>
      </p:sp>
      <p:sp>
        <p:nvSpPr>
          <p:cNvPr id="26" name="Text Placeholder 25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6000768"/>
            <a:ext cx="10016719" cy="285752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spcBef>
                <a:spcPts val="0"/>
              </a:spcBef>
              <a:buNone/>
              <a:defRPr sz="1350" b="0" baseline="0">
                <a:solidFill>
                  <a:schemeClr val="tx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Hamburg / 10. Mai 2009</a:t>
            </a:r>
          </a:p>
        </p:txBody>
      </p:sp>
      <p:pic>
        <p:nvPicPr>
          <p:cNvPr id="7" name="Grafik 6" descr="Logo_3zeilig_3c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243821" y="719943"/>
            <a:ext cx="2126985" cy="6117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063478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664896" y="2135559"/>
            <a:ext cx="10016719" cy="41017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1pPr>
            <a:lvl2pPr marL="198835" indent="-198835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2pPr>
            <a:lvl3pPr marL="403622" indent="-204788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 sz="1350">
                <a:solidFill>
                  <a:schemeClr val="tx1"/>
                </a:solidFill>
                <a:latin typeface="+mn-lt"/>
              </a:defRPr>
            </a:lvl3pPr>
            <a:lvl4pPr marL="602456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4pPr>
            <a:lvl5pPr marL="807244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1006079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6pPr>
            <a:lvl7pPr marL="1210866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7pPr>
            <a:lvl8pPr marL="1409700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8pPr>
            <a:lvl9pPr marL="1615679" indent="-205979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330228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9773275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664894" y="2135559"/>
            <a:ext cx="4785594" cy="41017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1pPr>
            <a:lvl2pPr marL="198835" indent="-198835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2pPr>
            <a:lvl3pPr marL="403622" indent="-204788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 sz="1350">
                <a:solidFill>
                  <a:schemeClr val="tx1"/>
                </a:solidFill>
                <a:latin typeface="+mn-lt"/>
              </a:defRPr>
            </a:lvl3pPr>
            <a:lvl4pPr marL="602456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4pPr>
            <a:lvl5pPr marL="807244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1006079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6pPr>
            <a:lvl7pPr marL="1210866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7pPr>
            <a:lvl8pPr marL="1409700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8pPr>
            <a:lvl9pPr marL="1615679" indent="-205979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Text Placeholder 12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6894067" y="2135559"/>
            <a:ext cx="4785594" cy="41017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1pPr>
            <a:lvl2pPr marL="198835" indent="-198835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2pPr>
            <a:lvl3pPr marL="403622" indent="-204788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 sz="1350">
                <a:solidFill>
                  <a:schemeClr val="tx1"/>
                </a:solidFill>
                <a:latin typeface="+mn-lt"/>
              </a:defRPr>
            </a:lvl3pPr>
            <a:lvl4pPr marL="602456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4pPr>
            <a:lvl5pPr marL="807244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1006079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6pPr>
            <a:lvl7pPr marL="1210866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7pPr>
            <a:lvl8pPr marL="1409700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8pPr>
            <a:lvl9pPr marL="1615679" indent="-205979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87164075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ur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664894" y="2135559"/>
            <a:ext cx="4785594" cy="41017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1pPr>
            <a:lvl2pPr marL="198835" indent="-198835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2pPr>
            <a:lvl3pPr marL="403622" indent="-204788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 sz="1350">
                <a:solidFill>
                  <a:schemeClr val="tx1"/>
                </a:solidFill>
                <a:latin typeface="+mn-lt"/>
              </a:defRPr>
            </a:lvl3pPr>
            <a:lvl4pPr marL="602456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4pPr>
            <a:lvl5pPr marL="807244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1006079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6pPr>
            <a:lvl7pPr marL="1210866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7pPr>
            <a:lvl8pPr marL="1409700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8pPr>
            <a:lvl9pPr marL="1615679" indent="-205979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8"/>
          </p:nvPr>
        </p:nvSpPr>
        <p:spPr bwMode="gray">
          <a:xfrm>
            <a:off x="6894069" y="2205038"/>
            <a:ext cx="4787546" cy="403225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13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80615339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584000" y="1968481"/>
            <a:ext cx="9000000" cy="1350981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493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Headline bearbeiten</a:t>
            </a:r>
            <a:br>
              <a:rPr lang="de-DE" dirty="0"/>
            </a:br>
            <a:r>
              <a:rPr lang="de-DE" dirty="0"/>
              <a:t>2. Zeile Headline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3319461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25A665-3048-4197-A739-649B1AC504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Picur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896022" y="2135559"/>
            <a:ext cx="4787546" cy="41017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900"/>
              </a:spcBef>
              <a:spcAft>
                <a:spcPts val="0"/>
              </a:spcAft>
              <a:buNone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1pPr>
            <a:lvl2pPr marL="198835" indent="-198835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198835" algn="l"/>
              </a:tabLst>
              <a:defRPr sz="1350">
                <a:solidFill>
                  <a:schemeClr val="tx1"/>
                </a:solidFill>
                <a:latin typeface="+mn-lt"/>
              </a:defRPr>
            </a:lvl2pPr>
            <a:lvl3pPr marL="403622" indent="-204788">
              <a:spcBef>
                <a:spcPts val="4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 sz="1350">
                <a:solidFill>
                  <a:schemeClr val="tx1"/>
                </a:solidFill>
                <a:latin typeface="+mn-lt"/>
              </a:defRPr>
            </a:lvl3pPr>
            <a:lvl4pPr marL="602456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4pPr>
            <a:lvl5pPr marL="807244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1006079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6pPr>
            <a:lvl7pPr marL="1210866" indent="-204788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7pPr>
            <a:lvl8pPr marL="1409700" indent="-198835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8pPr>
            <a:lvl9pPr marL="1615679" indent="-205979">
              <a:spcBef>
                <a:spcPts val="135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Bildplatzhalter 5"/>
          <p:cNvSpPr>
            <a:spLocks noGrp="1"/>
          </p:cNvSpPr>
          <p:nvPr>
            <p:ph type="pic" sz="quarter" idx="18"/>
          </p:nvPr>
        </p:nvSpPr>
        <p:spPr bwMode="gray">
          <a:xfrm>
            <a:off x="1664896" y="2205038"/>
            <a:ext cx="4787546" cy="403225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 sz="135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685271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C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16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133379" y="2129601"/>
            <a:ext cx="10548236" cy="41076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314325" marR="0" indent="-314325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Tx/>
              <a:buSzTx/>
              <a:buFont typeface="+mj-lt"/>
              <a:buAutoNum type="arabicPeriod"/>
              <a:tabLst>
                <a:tab pos="6390085" algn="r"/>
              </a:tabLst>
              <a:defRPr sz="1800" b="1">
                <a:solidFill>
                  <a:schemeClr val="tx1"/>
                </a:solidFill>
                <a:latin typeface="+mn-lt"/>
              </a:defRPr>
            </a:lvl1pPr>
            <a:lvl2pPr marL="538163" indent="-223838">
              <a:lnSpc>
                <a:spcPct val="100000"/>
              </a:lnSpc>
              <a:spcBef>
                <a:spcPts val="0"/>
              </a:spcBef>
              <a:buFont typeface="Symbol" pitchFamily="18" charset="2"/>
              <a:buChar char="-"/>
              <a:tabLst>
                <a:tab pos="6390085" algn="r"/>
              </a:tabLst>
              <a:defRPr sz="1800">
                <a:solidFill>
                  <a:schemeClr val="tx1"/>
                </a:solidFill>
                <a:latin typeface="+mn-lt"/>
              </a:defRPr>
            </a:lvl2pPr>
            <a:lvl3pPr marL="614363" indent="-342900">
              <a:buFont typeface="+mj-lt"/>
              <a:buAutoNum type="arabicPeriod"/>
              <a:defRPr sz="2100">
                <a:solidFill>
                  <a:schemeClr val="bg1">
                    <a:lumMod val="75000"/>
                  </a:schemeClr>
                </a:solidFill>
              </a:defRPr>
            </a:lvl3pPr>
            <a:lvl4pPr marL="671513" indent="-135731">
              <a:buFont typeface="Symbol" pitchFamily="18" charset="2"/>
              <a:buNone/>
              <a:defRPr>
                <a:solidFill>
                  <a:schemeClr val="bg1">
                    <a:lumMod val="75000"/>
                  </a:schemeClr>
                </a:solidFill>
              </a:defRPr>
            </a:lvl4pPr>
            <a:lvl5pPr>
              <a:buFontTx/>
              <a:buNone/>
              <a:defRPr>
                <a:solidFill>
                  <a:schemeClr val="bg1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Bullet</a:t>
            </a:r>
          </a:p>
        </p:txBody>
      </p:sp>
      <p:sp>
        <p:nvSpPr>
          <p:cNvPr id="4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4830794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8" name="Rad 37"/>
          <p:cNvSpPr/>
          <p:nvPr userDrawn="1"/>
        </p:nvSpPr>
        <p:spPr>
          <a:xfrm>
            <a:off x="4856402" y="2745163"/>
            <a:ext cx="3633704" cy="2952000"/>
          </a:xfrm>
          <a:prstGeom prst="donut">
            <a:avLst>
              <a:gd name="adj" fmla="val 631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 err="1">
              <a:ln>
                <a:noFill/>
              </a:ln>
              <a:solidFill>
                <a:srgbClr val="6B65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9" name="Text Placehold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448535" y="2000240"/>
            <a:ext cx="2836061" cy="58832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  <a:lvl3pPr>
              <a:buNone/>
              <a:defRPr sz="975"/>
            </a:lvl3pPr>
            <a:lvl4pPr>
              <a:buNone/>
              <a:defRPr sz="975"/>
            </a:lvl4pPr>
            <a:lvl5pPr>
              <a:buNone/>
              <a:defRPr sz="975"/>
            </a:lvl5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1" name="Text Placeholder 1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645188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2" name="Text Placeholder 1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855499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4" name="Text Placeholder 32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60600" y="2610673"/>
            <a:ext cx="620389" cy="504000"/>
          </a:xfrm>
          <a:prstGeom prst="ellipse">
            <a:avLst/>
          </a:prstGeom>
          <a:solidFill>
            <a:schemeClr val="accent2"/>
          </a:solidFill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7" name="Text Placeholder 32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323044" y="5116594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8" name="Text Placeholder 3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393314" y="5120528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0552023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1" name="Rad 30"/>
          <p:cNvSpPr/>
          <p:nvPr userDrawn="1"/>
        </p:nvSpPr>
        <p:spPr>
          <a:xfrm>
            <a:off x="4856402" y="2745163"/>
            <a:ext cx="3633704" cy="2952000"/>
          </a:xfrm>
          <a:prstGeom prst="donut">
            <a:avLst>
              <a:gd name="adj" fmla="val 631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 err="1">
              <a:ln>
                <a:noFill/>
              </a:ln>
              <a:solidFill>
                <a:srgbClr val="6B65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2" name="Text Placehold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855499" y="2205038"/>
            <a:ext cx="2836061" cy="58832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  <a:lvl3pPr>
              <a:buNone/>
              <a:defRPr sz="975"/>
            </a:lvl3pPr>
            <a:lvl4pPr>
              <a:buNone/>
              <a:defRPr sz="975"/>
            </a:lvl4pPr>
            <a:lvl5pPr>
              <a:buNone/>
              <a:defRPr sz="975"/>
            </a:lvl5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36" name="Text Placehold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45188" y="2205038"/>
            <a:ext cx="2836061" cy="58832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645188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38" name="Text Placeholder 1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855499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0" name="Text Placeholder 32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23044" y="2834512"/>
            <a:ext cx="620389" cy="504000"/>
          </a:xfrm>
          <a:prstGeom prst="ellipse">
            <a:avLst/>
          </a:prstGeom>
          <a:solidFill>
            <a:schemeClr val="accent2"/>
          </a:solidFill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1" name="Text Placeholder 32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393314" y="2838446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4" name="Text Placeholder 32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323044" y="5116594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5" name="Text Placeholder 3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393314" y="5120528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91840541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Rad 32"/>
          <p:cNvSpPr/>
          <p:nvPr userDrawn="1"/>
        </p:nvSpPr>
        <p:spPr>
          <a:xfrm>
            <a:off x="4856402" y="2745163"/>
            <a:ext cx="3633704" cy="2952000"/>
          </a:xfrm>
          <a:prstGeom prst="donut">
            <a:avLst>
              <a:gd name="adj" fmla="val 631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 err="1">
              <a:ln>
                <a:noFill/>
              </a:ln>
              <a:solidFill>
                <a:srgbClr val="6B65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Text Placehold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448535" y="2000240"/>
            <a:ext cx="2836061" cy="58832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  <a:lvl3pPr>
              <a:buNone/>
              <a:defRPr sz="975"/>
            </a:lvl3pPr>
            <a:lvl4pPr>
              <a:buNone/>
              <a:defRPr sz="975"/>
            </a:lvl4pPr>
            <a:lvl5pPr>
              <a:buNone/>
              <a:defRPr sz="975"/>
            </a:lvl5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37" name="Text Placehold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664895" y="371475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1" name="Text Placeholder 1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645188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3" name="Text Placeholder 1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855499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4" name="Text Placeholder 1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845553" y="371475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45" name="Text Placeholder 32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60600" y="2610673"/>
            <a:ext cx="620389" cy="504000"/>
          </a:xfrm>
          <a:prstGeom prst="ellipse">
            <a:avLst/>
          </a:prstGeom>
          <a:solidFill>
            <a:schemeClr val="accent2"/>
          </a:solidFill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7" name="Text Placeholder 32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701557" y="3662364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8" name="Text Placeholder 32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07918" y="3662364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9" name="Text Placeholder 32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323044" y="5116594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50" name="Text Placeholder 3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393314" y="5120528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56644769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ycle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ad 47"/>
          <p:cNvSpPr/>
          <p:nvPr userDrawn="1"/>
        </p:nvSpPr>
        <p:spPr>
          <a:xfrm>
            <a:off x="4856402" y="2745163"/>
            <a:ext cx="3633704" cy="2952000"/>
          </a:xfrm>
          <a:prstGeom prst="donut">
            <a:avLst>
              <a:gd name="adj" fmla="val 6316"/>
            </a:avLst>
          </a:prstGeom>
          <a:solidFill>
            <a:schemeClr val="accent1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350" b="0" i="0" u="none" strike="noStrike" kern="1200" cap="none" spc="0" normalizeH="0" baseline="0" noProof="0" dirty="0" err="1">
              <a:ln>
                <a:noFill/>
              </a:ln>
              <a:solidFill>
                <a:srgbClr val="6B6562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7855499" y="2205038"/>
            <a:ext cx="2836061" cy="58832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  <a:lvl3pPr>
              <a:buNone/>
              <a:defRPr sz="975"/>
            </a:lvl3pPr>
            <a:lvl4pPr>
              <a:buNone/>
              <a:defRPr sz="975"/>
            </a:lvl4pPr>
            <a:lvl5pPr>
              <a:buNone/>
              <a:defRPr sz="975"/>
            </a:lvl5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664895" y="4017011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25" name="Text Placeholder 15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2645188" y="2205038"/>
            <a:ext cx="2836061" cy="58832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26" name="Text Placeholder 15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2645188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 algn="r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27" name="Text Placeholder 15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855499" y="5636272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28" name="Text Placeholder 15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8841643" y="4017011"/>
            <a:ext cx="2836061" cy="601016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lnSpc>
                <a:spcPct val="100000"/>
              </a:lnSpc>
              <a:spcBef>
                <a:spcPts val="0"/>
              </a:spcBef>
              <a:buNone/>
              <a:defRPr sz="1050">
                <a:latin typeface="+mn-lt"/>
              </a:defRPr>
            </a:lvl2pPr>
          </a:lstStyle>
          <a:p>
            <a:pPr>
              <a:defRPr/>
            </a:pPr>
            <a:r>
              <a:rPr lang="de-DE" dirty="0"/>
              <a:t>Titel</a:t>
            </a:r>
          </a:p>
          <a:p>
            <a:pPr lvl="1">
              <a:defRPr/>
            </a:pPr>
            <a:r>
              <a:rPr lang="de-DE" dirty="0"/>
              <a:t>Beschreibung</a:t>
            </a:r>
          </a:p>
        </p:txBody>
      </p:sp>
      <p:sp>
        <p:nvSpPr>
          <p:cNvPr id="33" name="Text Placeholder 32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7323044" y="2834512"/>
            <a:ext cx="620389" cy="504000"/>
          </a:xfrm>
          <a:prstGeom prst="ellipse">
            <a:avLst/>
          </a:prstGeom>
          <a:solidFill>
            <a:schemeClr val="accent2"/>
          </a:solidFill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bg1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46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32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5393314" y="2838446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accent2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52" name="Text Placeholder 32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666383" y="3969163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accent2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53" name="Text Placeholder 32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8054816" y="3969163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accent2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54" name="Text Placeholder 32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7323044" y="5116594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accent2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  <p:sp>
        <p:nvSpPr>
          <p:cNvPr id="55" name="Text Placeholder 32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5393314" y="5120528"/>
            <a:ext cx="620389" cy="504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wrap="none" lIns="0" tIns="0" rIns="0" bIns="0" anchor="ctr">
            <a:noAutofit/>
          </a:bodyPr>
          <a:lstStyle>
            <a:lvl1pPr algn="ctr">
              <a:buNone/>
              <a:defRPr sz="1500">
                <a:solidFill>
                  <a:schemeClr val="accent2"/>
                </a:solidFill>
                <a:latin typeface="Arial" pitchFamily="34" charset="0"/>
              </a:defRPr>
            </a:lvl1pPr>
          </a:lstStyle>
          <a:p>
            <a:pPr lvl="0"/>
            <a:r>
              <a:rPr lang="en-US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3146418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2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4871577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5" y="2205041"/>
            <a:ext cx="4994654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21" name="Text Placeholder 2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59548" y="2205041"/>
            <a:ext cx="5022066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24" name="Text Placeholder 1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59548" y="2786058"/>
            <a:ext cx="4871577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11173243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3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7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3200808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18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4" y="2205041"/>
            <a:ext cx="3323510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28" name="Text Placeholder 1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989046" y="2786058"/>
            <a:ext cx="3200808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313200" y="2786058"/>
            <a:ext cx="3200808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37" name="Text Placeholder 2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4989046" y="2205041"/>
            <a:ext cx="3323510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8" name="Text Placeholder 2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8313199" y="2205041"/>
            <a:ext cx="3323510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</p:spTree>
    <p:extLst>
      <p:ext uri="{BB962C8B-B14F-4D97-AF65-F5344CB8AC3E}">
        <p14:creationId xmlns:p14="http://schemas.microsoft.com/office/powerpoint/2010/main" val="34306714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4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2409392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4" y="2205041"/>
            <a:ext cx="2497328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162221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59549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3" name="Text Placeholder 2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156874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162222" y="2786058"/>
            <a:ext cx="2409392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36" name="Text Placeholder 1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59550" y="2786058"/>
            <a:ext cx="2409392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37" name="Text Placeholder 1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156876" y="2786058"/>
            <a:ext cx="2409392" cy="3451230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33018181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5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6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27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4" y="2205041"/>
            <a:ext cx="2497328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28" name="Text Placeholder 2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162221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29" name="Text Placeholder 2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59549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0" name="Text Placeholder 2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156874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1" name="Text Placeholder 1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162222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0" name="Text Placeholder 1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59550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1" name="Text Placeholder 1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156876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2" name="Text Placeholder 1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664895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4" name="Text Placeholder 2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664894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</p:spTree>
    <p:extLst>
      <p:ext uri="{BB962C8B-B14F-4D97-AF65-F5344CB8AC3E}">
        <p14:creationId xmlns:p14="http://schemas.microsoft.com/office/powerpoint/2010/main" val="292540515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605A9C-DA61-424E-9E79-D5B0D0AF6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DD89D19-93DF-407D-94D6-A10AA320A0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84000" y="2462400"/>
            <a:ext cx="900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1130AEB-53AE-4FBB-9C13-BEB4B4A70F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6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0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31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4" y="2205041"/>
            <a:ext cx="2497328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2" name="Text Placeholder 2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162221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3" name="Text Placeholder 2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59549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4" name="Text Placeholder 2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156874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5" name="Text Placeholder 1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162222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36" name="Text Placeholder 1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59550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4" name="Text Placeholder 1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156876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7" name="Text Placeholder 1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664895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48" name="Text Placeholder 2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664894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0" name="Text Placeholder 2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4162221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162222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33919691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7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0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51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4" y="2205041"/>
            <a:ext cx="2497328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2" name="Text Placeholder 2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162221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3" name="Text Placeholder 2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59549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4" name="Text Placeholder 2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156874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5" name="Text Placeholder 1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162222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56" name="Text Placeholder 1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59550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57" name="Text Placeholder 1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156876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58" name="Text Placeholder 1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664895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59" name="Text Placeholder 2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664894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0" name="Text Placeholder 2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4162221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1" name="Text Placeholder 2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659549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162222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659550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128011080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(8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5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24" name="Text Placeholder 2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1664894" y="2205041"/>
            <a:ext cx="2497328" cy="509581"/>
          </a:xfrm>
          <a:prstGeom prst="homePlate">
            <a:avLst>
              <a:gd name="adj" fmla="val 15732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39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1" name="Text Placeholder 2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162221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3" name="Text Placeholder 2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659549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5" name="Text Placeholder 2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9156874" y="2205041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57" name="Text Placeholder 1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4162222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58" name="Text Placeholder 1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659550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62" name="Text Placeholder 1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9156876" y="2786058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63" name="Text Placeholder 1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664895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64" name="Text Placeholder 23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1664894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5" name="Text Placeholder 2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4162221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6" name="Text Placeholder 2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659549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7" name="Text Placeholder 2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9156874" y="4270603"/>
            <a:ext cx="2497328" cy="509581"/>
          </a:xfrm>
          <a:prstGeom prst="chevron">
            <a:avLst>
              <a:gd name="adj" fmla="val 16239"/>
            </a:avLst>
          </a:prstGeom>
          <a:solidFill>
            <a:schemeClr val="accent1"/>
          </a:solidFill>
        </p:spPr>
        <p:txBody>
          <a:bodyPr lIns="126000" anchor="ctr">
            <a:noAutofit/>
          </a:bodyPr>
          <a:lstStyle>
            <a:lvl1pPr marL="0" indent="0">
              <a:buNone/>
              <a:defRPr sz="1350" b="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Text </a:t>
            </a:r>
            <a:r>
              <a:rPr lang="en-US" dirty="0" err="1"/>
              <a:t>oder</a:t>
            </a:r>
            <a:r>
              <a:rPr lang="en-US" dirty="0"/>
              <a:t> Nr.</a:t>
            </a:r>
          </a:p>
        </p:txBody>
      </p:sp>
      <p:sp>
        <p:nvSpPr>
          <p:cNvPr id="68" name="Text Placeholder 1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4162222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69" name="Text Placeholder 17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6659550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70" name="Text Placeholder 17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9156876" y="4851620"/>
            <a:ext cx="2409392" cy="138566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225"/>
              </a:spcBef>
              <a:buFont typeface="Arial" charset="0"/>
              <a:buNone/>
              <a:defRPr sz="10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10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225"/>
              </a:spcBef>
              <a:buFont typeface="Symbol" pitchFamily="18" charset="2"/>
              <a:buChar char="-"/>
              <a:defRPr sz="10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58565902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tri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 userDrawn="1"/>
        </p:nvCxnSpPr>
        <p:spPr bwMode="gray">
          <a:xfrm>
            <a:off x="1664896" y="4221164"/>
            <a:ext cx="10016719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 userDrawn="1"/>
        </p:nvCxnSpPr>
        <p:spPr bwMode="gray">
          <a:xfrm rot="5400000" flipH="1" flipV="1">
            <a:off x="4657127" y="4221164"/>
            <a:ext cx="4032252" cy="0"/>
          </a:xfrm>
          <a:prstGeom prst="line">
            <a:avLst/>
          </a:prstGeom>
          <a:ln w="285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9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664896" y="714359"/>
            <a:ext cx="10016719" cy="10588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1500" b="1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0" name="Text Placeholder 1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664894" y="2214554"/>
            <a:ext cx="4785594" cy="1857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50"/>
              </a:spcBef>
              <a:buFont typeface="Arial" charset="0"/>
              <a:buNone/>
              <a:defRPr sz="13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450"/>
              </a:spcBef>
              <a:buFont typeface="Symbol" pitchFamily="18" charset="2"/>
              <a:buChar char="-"/>
              <a:defRPr sz="13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21" name="Text Placeholder 17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896019" y="2205038"/>
            <a:ext cx="4785594" cy="1857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50"/>
              </a:spcBef>
              <a:buFont typeface="Arial" charset="0"/>
              <a:buNone/>
              <a:defRPr sz="13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450"/>
              </a:spcBef>
              <a:buFont typeface="Symbol" pitchFamily="18" charset="2"/>
              <a:buChar char="-"/>
              <a:defRPr sz="13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22" name="Text Placeholder 17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664894" y="4379900"/>
            <a:ext cx="4785594" cy="1857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50"/>
              </a:spcBef>
              <a:buFont typeface="Arial" charset="0"/>
              <a:buNone/>
              <a:defRPr sz="13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450"/>
              </a:spcBef>
              <a:buFont typeface="Symbol" pitchFamily="18" charset="2"/>
              <a:buChar char="-"/>
              <a:defRPr sz="13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  <p:sp>
        <p:nvSpPr>
          <p:cNvPr id="23" name="Text Placeholder 17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896019" y="4370384"/>
            <a:ext cx="4785594" cy="1857388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450"/>
              </a:spcBef>
              <a:buFont typeface="Arial" charset="0"/>
              <a:buNone/>
              <a:defRPr sz="1350" b="1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450"/>
              </a:spcBef>
              <a:buNone/>
              <a:defRPr sz="1350">
                <a:solidFill>
                  <a:schemeClr val="tx1"/>
                </a:solidFill>
                <a:latin typeface="+mn-lt"/>
              </a:defRPr>
            </a:lvl2pPr>
            <a:lvl3pPr marL="135731" indent="-135731">
              <a:spcBef>
                <a:spcPts val="450"/>
              </a:spcBef>
              <a:buFont typeface="Symbol" pitchFamily="18" charset="2"/>
              <a:buChar char="-"/>
              <a:defRPr sz="1350">
                <a:latin typeface="+mn-lt"/>
              </a:defRPr>
            </a:lvl3pPr>
          </a:lstStyle>
          <a:p>
            <a:pPr lvl="0">
              <a:buFont typeface="Arial" charset="0"/>
              <a:buNone/>
            </a:pPr>
            <a:r>
              <a:rPr lang="de-DE" dirty="0"/>
              <a:t>Titel</a:t>
            </a:r>
          </a:p>
          <a:p>
            <a:pPr lvl="1"/>
            <a:r>
              <a:rPr lang="de-DE" dirty="0"/>
              <a:t>Beschreibung</a:t>
            </a:r>
          </a:p>
          <a:p>
            <a:pPr lvl="2"/>
            <a:r>
              <a:rPr lang="de-DE" dirty="0"/>
              <a:t>Bullet</a:t>
            </a:r>
          </a:p>
        </p:txBody>
      </p:sp>
    </p:spTree>
    <p:extLst>
      <p:ext uri="{BB962C8B-B14F-4D97-AF65-F5344CB8AC3E}">
        <p14:creationId xmlns:p14="http://schemas.microsoft.com/office/powerpoint/2010/main" val="338325711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325395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946116"/>
            <a:ext cx="11521500" cy="76677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24000" y="1836000"/>
            <a:ext cx="11521500" cy="446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BBC8F3C5-3AA4-4BEA-BB2B-197D3C6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8067267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 Alternati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5364608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5985328"/>
            <a:ext cx="11521500" cy="396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3588" cy="47971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225E27-6D80-406F-8700-FD384698AC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82612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584000" y="1968481"/>
            <a:ext cx="9000000" cy="1350981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493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Headline bearbeiten</a:t>
            </a:r>
            <a:br>
              <a:rPr lang="de-DE" dirty="0"/>
            </a:br>
            <a:r>
              <a:rPr lang="de-DE" dirty="0"/>
              <a:t>2. Zeile Headline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3319461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25A665-3048-4197-A739-649B1AC504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3342407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605A9C-DA61-424E-9E79-D5B0D0AF6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DD89D19-93DF-407D-94D6-A10AA320A0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84000" y="2462400"/>
            <a:ext cx="900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1130AEB-53AE-4FBB-9C13-BEB4B4A70F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85199478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4212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940000" y="434935"/>
            <a:ext cx="5904000" cy="58531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704A55-2A38-4CC0-B1B0-72D9517B3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4212000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E7E433-890C-44AA-B0C8-F88C15247A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4000" y="2462213"/>
            <a:ext cx="4212000" cy="382589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8119B5E-5B84-4530-B562-7D1963DCE9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9018419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-qu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4476773"/>
            <a:ext cx="9000000" cy="37623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84000" y="434935"/>
            <a:ext cx="9000000" cy="303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9E2298B-FEDC-4E5D-A69E-74BF57DB3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3794400"/>
            <a:ext cx="9000000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F0432E6-F543-444B-AE38-F2B469D19B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84000" y="5086351"/>
            <a:ext cx="9000000" cy="11916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A71209E-7F6B-47E9-9C55-C55DF21EC3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82261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4212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940000" y="434935"/>
            <a:ext cx="5904000" cy="58531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704A55-2A38-4CC0-B1B0-72D9517B3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4212000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E7E433-890C-44AA-B0C8-F88C15247A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4000" y="2462213"/>
            <a:ext cx="4212000" cy="382589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8119B5E-5B84-4530-B562-7D1963DCE9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Dia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iagrammplatzhalter 15"/>
          <p:cNvSpPr>
            <a:spLocks noGrp="1"/>
          </p:cNvSpPr>
          <p:nvPr>
            <p:ph type="chart" sz="quarter" idx="15"/>
          </p:nvPr>
        </p:nvSpPr>
        <p:spPr>
          <a:xfrm>
            <a:off x="1584000" y="1566863"/>
            <a:ext cx="9000000" cy="4162456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r>
              <a:rPr lang="de-DE" sz="1800" dirty="0"/>
              <a:t>Diagramm durch Klicken auf Symbol hinzufügen</a:t>
            </a:r>
            <a:endParaRPr lang="de-DE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900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1FCCDE-CE93-410F-B5E9-5749FD14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BFD1D0-EA02-4DD0-BC14-4434ECA6A6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566043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1026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584000" y="434935"/>
            <a:ext cx="10260000" cy="5221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467217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 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5802346"/>
            <a:ext cx="1152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3588" cy="56562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958174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CC1F68-8C51-483B-BDAD-39DC49F62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70713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2735254"/>
            <a:ext cx="9000000" cy="346873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6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20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/>
              <a:t>Fließtext Segoe erste </a:t>
            </a:r>
            <a:r>
              <a:rPr lang="de-DE" dirty="0"/>
              <a:t>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B10777-CCC7-4788-8DDB-56FBA5C7D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4EB5BC-032F-4E56-AFA0-B77B0F0F81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2845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325395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946116"/>
            <a:ext cx="11521500" cy="76677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24000" y="1836000"/>
            <a:ext cx="11521500" cy="446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BBC8F3C5-3AA4-4BEA-BB2B-197D3C6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3888206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 Alternati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5364608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5985328"/>
            <a:ext cx="11521500" cy="396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3588" cy="47971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225E27-6D80-406F-8700-FD384698AC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3933260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584000" y="1968481"/>
            <a:ext cx="9000000" cy="1350981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493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Headline bearbeiten</a:t>
            </a:r>
            <a:br>
              <a:rPr lang="de-DE" dirty="0"/>
            </a:br>
            <a:r>
              <a:rPr lang="de-DE" dirty="0"/>
              <a:t>2. Zeile Headline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3319461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25A665-3048-4197-A739-649B1AC504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7618952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605A9C-DA61-424E-9E79-D5B0D0AF6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DD89D19-93DF-407D-94D6-A10AA320A0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84000" y="2462400"/>
            <a:ext cx="900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1130AEB-53AE-4FBB-9C13-BEB4B4A70F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8758433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4212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940000" y="434935"/>
            <a:ext cx="5904000" cy="58531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704A55-2A38-4CC0-B1B0-72D9517B3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4212000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E7E433-890C-44AA-B0C8-F88C15247A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4000" y="2462213"/>
            <a:ext cx="4212000" cy="382589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8119B5E-5B84-4530-B562-7D1963DCE9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398062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-qu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4476773"/>
            <a:ext cx="9000000" cy="37623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84000" y="434935"/>
            <a:ext cx="9000000" cy="303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9E2298B-FEDC-4E5D-A69E-74BF57DB3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3794400"/>
            <a:ext cx="9000000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F0432E6-F543-444B-AE38-F2B469D19B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84000" y="5086351"/>
            <a:ext cx="9000000" cy="11916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A71209E-7F6B-47E9-9C55-C55DF21EC3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-qu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4476773"/>
            <a:ext cx="9000000" cy="37623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84000" y="434935"/>
            <a:ext cx="9000000" cy="303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9E2298B-FEDC-4E5D-A69E-74BF57DB3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3794400"/>
            <a:ext cx="9000000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F0432E6-F543-444B-AE38-F2B469D19B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84000" y="5086351"/>
            <a:ext cx="9000000" cy="11916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A71209E-7F6B-47E9-9C55-C55DF21EC3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7265460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Dia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iagrammplatzhalter 15"/>
          <p:cNvSpPr>
            <a:spLocks noGrp="1"/>
          </p:cNvSpPr>
          <p:nvPr>
            <p:ph type="chart" sz="quarter" idx="15"/>
          </p:nvPr>
        </p:nvSpPr>
        <p:spPr>
          <a:xfrm>
            <a:off x="1584000" y="1566863"/>
            <a:ext cx="9000000" cy="4162456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r>
              <a:rPr lang="de-DE" sz="1800" dirty="0"/>
              <a:t>Diagramm durch Klicken auf Symbol hinzufügen</a:t>
            </a:r>
            <a:endParaRPr lang="de-DE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900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1FCCDE-CE93-410F-B5E9-5749FD14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BFD1D0-EA02-4DD0-BC14-4434ECA6A6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966083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1026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584000" y="434935"/>
            <a:ext cx="10260000" cy="5221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47186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 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5802346"/>
            <a:ext cx="1152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3588" cy="56562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4648578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CC1F68-8C51-483B-BDAD-39DC49F62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5105390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2735254"/>
            <a:ext cx="9000000" cy="346873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6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20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/>
              <a:t>Fließtext Segoe erste </a:t>
            </a:r>
            <a:r>
              <a:rPr lang="de-DE" dirty="0"/>
              <a:t>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B10777-CCC7-4788-8DDB-56FBA5C7D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4EB5BC-032F-4E56-AFA0-B77B0F0F81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1285968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325395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946116"/>
            <a:ext cx="11521500" cy="766773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324000" y="1836000"/>
            <a:ext cx="11521500" cy="4464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BBC8F3C5-3AA4-4BEA-BB2B-197D3C638661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576185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rtfolie Alternativ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324000" y="5364608"/>
            <a:ext cx="11521500" cy="610200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59D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Titel bearbeiten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24000" y="5985328"/>
            <a:ext cx="11521500" cy="39600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Untertitel bearbeiten</a:t>
            </a:r>
          </a:p>
        </p:txBody>
      </p:sp>
      <p:sp>
        <p:nvSpPr>
          <p:cNvPr id="15" name="Picture Placeholder 13"/>
          <p:cNvSpPr>
            <a:spLocks noGrp="1"/>
          </p:cNvSpPr>
          <p:nvPr>
            <p:ph type="pic" sz="quarter" idx="11" hasCustomPrompt="1"/>
          </p:nvPr>
        </p:nvSpPr>
        <p:spPr>
          <a:xfrm>
            <a:off x="0" y="0"/>
            <a:ext cx="12193588" cy="47971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 i="0" baseline="0">
                <a:latin typeface="+mn-lt"/>
                <a:cs typeface="Arial"/>
              </a:defRPr>
            </a:lvl1pPr>
          </a:lstStyle>
          <a:p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/>
            </a:r>
            <a:br>
              <a:rPr lang="de-DE" dirty="0"/>
            </a:br>
            <a:r>
              <a:rPr lang="de-DE" dirty="0"/>
              <a:t>Bild durch Klicken auf das Symbol hinzufügen.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88225E27-6D80-406F-8700-FD384698ACDC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00545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584000" y="1968481"/>
            <a:ext cx="9000000" cy="1350981"/>
          </a:xfrm>
          <a:prstGeom prst="rect">
            <a:avLst/>
          </a:prstGeom>
        </p:spPr>
        <p:txBody>
          <a:bodyPr vert="horz" lIns="0" tIns="0" rIns="0" bIns="0"/>
          <a:lstStyle>
            <a:lvl1pPr algn="l">
              <a:lnSpc>
                <a:spcPts val="4600"/>
              </a:lnSpc>
              <a:defRPr sz="3800" b="0" i="0" baseline="0">
                <a:solidFill>
                  <a:srgbClr val="005493"/>
                </a:solidFill>
                <a:latin typeface="+mj-lt"/>
                <a:cs typeface="Arial"/>
              </a:defRPr>
            </a:lvl1pPr>
          </a:lstStyle>
          <a:p>
            <a:r>
              <a:rPr lang="de-DE" dirty="0"/>
              <a:t>Headline bearbeiten</a:t>
            </a:r>
            <a:br>
              <a:rPr lang="de-DE" dirty="0"/>
            </a:br>
            <a:r>
              <a:rPr lang="de-DE" dirty="0"/>
              <a:t>2. Zeile Headline</a:t>
            </a:r>
          </a:p>
        </p:txBody>
      </p:sp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3319461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2825A665-3048-4197-A739-649B1AC5048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612735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9000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3605A9C-DA61-424E-9E79-D5B0D0AF66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8DD89D19-93DF-407D-94D6-A10AA320A0F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84000" y="2462400"/>
            <a:ext cx="9000000" cy="3816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0" name="Foliennummernplatzhalter 9">
            <a:extLst>
              <a:ext uri="{FF2B5EF4-FFF2-40B4-BE49-F238E27FC236}">
                <a16:creationId xmlns:a16="http://schemas.microsoft.com/office/drawing/2014/main" id="{41130AEB-53AE-4FBB-9C13-BEB4B4A70F7F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3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121189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Dia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iagrammplatzhalter 15"/>
          <p:cNvSpPr>
            <a:spLocks noGrp="1"/>
          </p:cNvSpPr>
          <p:nvPr>
            <p:ph type="chart" sz="quarter" idx="15"/>
          </p:nvPr>
        </p:nvSpPr>
        <p:spPr>
          <a:xfrm>
            <a:off x="1584000" y="1566863"/>
            <a:ext cx="9000000" cy="4162456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r>
              <a:rPr lang="de-DE" sz="1800" dirty="0"/>
              <a:t>Diagramm durch Klicken auf Symbol hinzufügen</a:t>
            </a:r>
            <a:endParaRPr lang="de-DE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900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1FCCDE-CE93-410F-B5E9-5749FD14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BFD1D0-EA02-4DD0-BC14-4434ECA6A6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1482707"/>
            <a:ext cx="4212000" cy="814390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  <a:p>
            <a:pPr lvl="0"/>
            <a:r>
              <a:rPr lang="de-DE" dirty="0"/>
              <a:t>2. Zeile Subheadline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5940000" y="434935"/>
            <a:ext cx="5904000" cy="58531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2704A55-2A38-4CC0-B1B0-72D9517B3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4212000" cy="936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8CE7E433-890C-44AA-B0C8-F88C15247A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584000" y="2462213"/>
            <a:ext cx="4212000" cy="3825894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8119B5E-5B84-4530-B562-7D1963DCE96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818486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Text_Bild-qu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584000" y="4476773"/>
            <a:ext cx="9000000" cy="376234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j-lt"/>
                <a:cs typeface="Arial"/>
              </a:defRPr>
            </a:lvl1pPr>
          </a:lstStyle>
          <a:p>
            <a:pPr lvl="0"/>
            <a:r>
              <a:rPr lang="de-DE" dirty="0"/>
              <a:t>Subheadline bearbeiten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5"/>
          </p:nvPr>
        </p:nvSpPr>
        <p:spPr>
          <a:xfrm>
            <a:off x="1584000" y="434935"/>
            <a:ext cx="9000000" cy="303057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59E2298B-FEDC-4E5D-A69E-74BF57DB3E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3794400"/>
            <a:ext cx="9000000" cy="468000"/>
          </a:xfrm>
        </p:spPr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3F0432E6-F543-444B-AE38-F2B469D19BB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584000" y="5086351"/>
            <a:ext cx="9000000" cy="11916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1A71209E-7F6B-47E9-9C55-C55DF21EC3EA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2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72781246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Diagramm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Diagrammplatzhalter 15"/>
          <p:cNvSpPr>
            <a:spLocks noGrp="1"/>
          </p:cNvSpPr>
          <p:nvPr>
            <p:ph type="chart" sz="quarter" idx="15"/>
          </p:nvPr>
        </p:nvSpPr>
        <p:spPr>
          <a:xfrm>
            <a:off x="1584000" y="1566863"/>
            <a:ext cx="9000000" cy="4162456"/>
          </a:xfrm>
          <a:prstGeom prst="rect">
            <a:avLst/>
          </a:prstGeom>
        </p:spPr>
        <p:txBody>
          <a:bodyPr/>
          <a:lstStyle>
            <a:lvl1pPr>
              <a:buNone/>
              <a:defRPr sz="1800"/>
            </a:lvl1pPr>
          </a:lstStyle>
          <a:p>
            <a:r>
              <a:rPr lang="de-DE" sz="1800" dirty="0"/>
              <a:t>Diagramm durch Klicken auf Symbol hinzufügen</a:t>
            </a:r>
            <a:endParaRPr lang="de-DE" dirty="0"/>
          </a:p>
        </p:txBody>
      </p:sp>
      <p:sp>
        <p:nvSpPr>
          <p:cNvPr id="22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900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481FCCDE-CE93-410F-B5E9-5749FD1486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64BFD1D0-EA02-4DD0-BC14-4434ECA6A6D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0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5152256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1026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584000" y="434935"/>
            <a:ext cx="10260000" cy="5221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469997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 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5802346"/>
            <a:ext cx="1152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3588" cy="56562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3984192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le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22CC1F68-8C51-483B-BDAD-39DC49F624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6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0549560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2735254"/>
            <a:ext cx="9000000" cy="3468735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2600"/>
              </a:lnSpc>
              <a:spcBef>
                <a:spcPts val="0"/>
              </a:spcBef>
              <a:buNone/>
              <a:defRPr sz="20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6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20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/>
              <a:t>Fließtext Segoe erste </a:t>
            </a:r>
            <a:r>
              <a:rPr lang="de-DE" dirty="0"/>
              <a:t>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6AB10777-CCC7-4788-8DDB-56FBA5C7D03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54EB5BC-032F-4E56-AFA0-B77B0F0F81F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sp>
        <p:nvSpPr>
          <p:cNvPr id="9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0154697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ext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1664894" y="2135559"/>
            <a:ext cx="10016720" cy="410172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</a:tabLst>
              <a:defRPr sz="1800">
                <a:solidFill>
                  <a:schemeClr val="tx1"/>
                </a:solidFill>
                <a:latin typeface="+mn-lt"/>
              </a:defRPr>
            </a:lvl1pPr>
            <a:lvl2pPr marL="265113" indent="-265113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tabLst>
                <a:tab pos="265113" algn="l"/>
              </a:tabLst>
              <a:defRPr sz="1800">
                <a:solidFill>
                  <a:schemeClr val="tx1"/>
                </a:solidFill>
                <a:latin typeface="+mn-lt"/>
              </a:defRPr>
            </a:lvl2pPr>
            <a:lvl3pPr marL="538163" indent="-273050">
              <a:spcBef>
                <a:spcPts val="6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 sz="1800">
                <a:solidFill>
                  <a:schemeClr val="tx1"/>
                </a:solidFill>
                <a:latin typeface="+mn-lt"/>
              </a:defRPr>
            </a:lvl3pPr>
            <a:lvl4pPr marL="803275" indent="-265113">
              <a:spcBef>
                <a:spcPts val="18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4pPr>
            <a:lvl5pPr marL="1076325" indent="-273050">
              <a:spcBef>
                <a:spcPts val="18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  <a:latin typeface="+mn-lt"/>
              </a:defRPr>
            </a:lvl5pPr>
            <a:lvl6pPr marL="1341438" indent="-265113">
              <a:spcBef>
                <a:spcPts val="18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6pPr>
            <a:lvl7pPr marL="1614488" indent="-273050">
              <a:spcBef>
                <a:spcPts val="18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7pPr>
            <a:lvl8pPr marL="1879600" indent="-265113">
              <a:spcBef>
                <a:spcPts val="18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8pPr>
            <a:lvl9pPr marL="2154238" indent="-274638">
              <a:spcBef>
                <a:spcPts val="1800"/>
              </a:spcBef>
              <a:spcAft>
                <a:spcPts val="0"/>
              </a:spcAft>
              <a:buClr>
                <a:schemeClr val="tx1"/>
              </a:buClr>
              <a:buFont typeface="Symbol" pitchFamily="18" charset="2"/>
              <a:buChar char="-"/>
              <a:defRPr>
                <a:solidFill>
                  <a:schemeClr val="tx1"/>
                </a:solidFill>
              </a:defRPr>
            </a:lvl9pPr>
          </a:lstStyle>
          <a:p>
            <a:pPr lvl="0"/>
            <a:r>
              <a:rPr lang="de-DE" dirty="0"/>
              <a:t>Click </a:t>
            </a:r>
            <a:r>
              <a:rPr lang="de-DE" dirty="0" err="1"/>
              <a:t>to</a:t>
            </a:r>
            <a:r>
              <a:rPr lang="de-DE" dirty="0"/>
              <a:t> </a:t>
            </a:r>
            <a:r>
              <a:rPr lang="de-DE" dirty="0" err="1"/>
              <a:t>edit</a:t>
            </a:r>
            <a:r>
              <a:rPr lang="de-DE" dirty="0"/>
              <a:t> Master </a:t>
            </a:r>
            <a:r>
              <a:rPr lang="de-DE" dirty="0" err="1"/>
              <a:t>text</a:t>
            </a:r>
            <a:r>
              <a:rPr lang="de-DE" dirty="0"/>
              <a:t> </a:t>
            </a:r>
            <a:r>
              <a:rPr lang="de-DE" dirty="0" err="1"/>
              <a:t>styles</a:t>
            </a:r>
            <a:endParaRPr lang="de-DE" dirty="0"/>
          </a:p>
          <a:p>
            <a:pPr lvl="1"/>
            <a:r>
              <a:rPr lang="de-DE" dirty="0"/>
              <a:t>Second </a:t>
            </a:r>
            <a:r>
              <a:rPr lang="de-DE" dirty="0" err="1"/>
              <a:t>level</a:t>
            </a:r>
            <a:endParaRPr lang="de-DE" dirty="0"/>
          </a:p>
          <a:p>
            <a:pPr lvl="2"/>
            <a:r>
              <a:rPr lang="de-DE" dirty="0"/>
              <a:t>Third </a:t>
            </a:r>
            <a:r>
              <a:rPr lang="de-DE" dirty="0" err="1"/>
              <a:t>level</a:t>
            </a:r>
            <a:endParaRPr lang="de-DE" dirty="0"/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1664894" y="714357"/>
            <a:ext cx="10016720" cy="105888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337130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584000" y="5802346"/>
            <a:ext cx="1026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1584000" y="434935"/>
            <a:ext cx="10260000" cy="52213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1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lie Bild vo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23999" y="5802346"/>
            <a:ext cx="11520000" cy="492291"/>
          </a:xfrm>
          <a:prstGeom prst="rect">
            <a:avLst/>
          </a:prstGeom>
        </p:spPr>
        <p:txBody>
          <a:bodyPr vert="horz" lIns="0" tIns="0" rIns="0" bIns="0"/>
          <a:lstStyle>
            <a:lvl1pPr marL="0" indent="0">
              <a:lnSpc>
                <a:spcPts val="1600"/>
              </a:lnSpc>
              <a:spcBef>
                <a:spcPts val="0"/>
              </a:spcBef>
              <a:buNone/>
              <a:defRPr sz="1200" b="0" i="0" baseline="0">
                <a:solidFill>
                  <a:srgbClr val="00325F"/>
                </a:solidFill>
                <a:latin typeface="+mn-lt"/>
                <a:cs typeface="Arial"/>
              </a:defRPr>
            </a:lvl1pPr>
            <a:lvl2pPr marL="216000" indent="-216000">
              <a:lnSpc>
                <a:spcPts val="2300"/>
              </a:lnSpc>
              <a:buClr>
                <a:srgbClr val="00325F"/>
              </a:buClr>
              <a:buSzPct val="120000"/>
              <a:buFont typeface="Symbol" pitchFamily="18" charset="2"/>
              <a:buChar char="-"/>
              <a:defRPr sz="1800">
                <a:solidFill>
                  <a:srgbClr val="00325F"/>
                </a:solidFill>
                <a:latin typeface="+mn-lt"/>
              </a:defRPr>
            </a:lvl2pPr>
            <a:lvl3pPr marL="864000" indent="-216000">
              <a:lnSpc>
                <a:spcPts val="2300"/>
              </a:lnSpc>
              <a:buFont typeface="Arial" pitchFamily="34" charset="0"/>
              <a:buChar char="–"/>
              <a:defRPr sz="1800" baseline="0">
                <a:latin typeface="Arial" pitchFamily="34" charset="0"/>
              </a:defRPr>
            </a:lvl3pPr>
            <a:lvl4pPr marL="1296000" indent="-216000">
              <a:lnSpc>
                <a:spcPts val="2300"/>
              </a:lnSpc>
              <a:buFont typeface="Arial" pitchFamily="34" charset="0"/>
              <a:buChar char="•"/>
              <a:defRPr sz="1800">
                <a:latin typeface="Arial" pitchFamily="34" charset="0"/>
              </a:defRPr>
            </a:lvl4pPr>
            <a:lvl5pPr marL="1728000" indent="-216000">
              <a:lnSpc>
                <a:spcPts val="2300"/>
              </a:lnSpc>
              <a:buFont typeface="Arial" pitchFamily="34" charset="0"/>
              <a:buChar char="–"/>
              <a:defRPr sz="1800">
                <a:latin typeface="Arial" pitchFamily="34" charset="0"/>
              </a:defRPr>
            </a:lvl5pPr>
          </a:lstStyle>
          <a:p>
            <a:pPr lvl="0"/>
            <a:r>
              <a:rPr lang="de-DE" dirty="0"/>
              <a:t>Fließtext erste Ebene, durch Klicken bearbeiten</a:t>
            </a:r>
            <a:br>
              <a:rPr lang="de-DE" dirty="0"/>
            </a:br>
            <a:r>
              <a:rPr lang="de-DE" dirty="0"/>
              <a:t>2. Zeile Bildunterschrift</a:t>
            </a:r>
          </a:p>
        </p:txBody>
      </p:sp>
      <p:sp>
        <p:nvSpPr>
          <p:cNvPr id="9" name="Picture Placeholder 13"/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12193588" cy="565626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vert="horz" anchor="ctr"/>
          <a:lstStyle>
            <a:lvl1pPr algn="ctr">
              <a:buNone/>
              <a:defRPr sz="1600">
                <a:latin typeface="+mn-lt"/>
                <a:cs typeface="Arial"/>
              </a:defRPr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09F0D43A-D82A-4ABE-8CB2-2E04750BBE06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Fußzeilenplatzhalter 2">
            <a:extLst>
              <a:ext uri="{FF2B5EF4-FFF2-40B4-BE49-F238E27FC236}">
                <a16:creationId xmlns:a16="http://schemas.microsoft.com/office/drawing/2014/main" id="{FE8CE9B4-8E7A-40DC-9044-65CFFDA97C32}"/>
              </a:ext>
            </a:extLst>
          </p:cNvPr>
          <p:cNvSpPr>
            <a:spLocks noGrp="1"/>
          </p:cNvSpPr>
          <p:nvPr>
            <p:ph type="ftr" sz="quarter" idx="1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/>
          <a:p>
            <a:r>
              <a:rPr lang="de-DE" dirty="0"/>
              <a:t>Abteilung 10/11 Organisationsentwicklung</a:t>
            </a: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888763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slideLayout" Target="../slideLayouts/slideLayout37.xml"/><Relationship Id="rId1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27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1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40.xml"/><Relationship Id="rId20" Type="http://schemas.openxmlformats.org/officeDocument/2006/relationships/theme" Target="../theme/theme3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34.xml"/><Relationship Id="rId19" Type="http://schemas.openxmlformats.org/officeDocument/2006/relationships/slideLayout" Target="../slideLayouts/slideLayout43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slideLayout" Target="../slideLayouts/slideLayout3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1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6.xml"/><Relationship Id="rId7" Type="http://schemas.openxmlformats.org/officeDocument/2006/relationships/slideLayout" Target="../slideLayouts/slideLayout5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45.xml"/><Relationship Id="rId1" Type="http://schemas.openxmlformats.org/officeDocument/2006/relationships/slideLayout" Target="../slideLayouts/slideLayout44.xml"/><Relationship Id="rId6" Type="http://schemas.openxmlformats.org/officeDocument/2006/relationships/slideLayout" Target="../slideLayouts/slideLayout49.xml"/><Relationship Id="rId11" Type="http://schemas.openxmlformats.org/officeDocument/2006/relationships/slideLayout" Target="../slideLayouts/slideLayout54.xml"/><Relationship Id="rId5" Type="http://schemas.openxmlformats.org/officeDocument/2006/relationships/slideLayout" Target="../slideLayouts/slideLayout48.xml"/><Relationship Id="rId10" Type="http://schemas.openxmlformats.org/officeDocument/2006/relationships/slideLayout" Target="../slideLayouts/slideLayout53.xml"/><Relationship Id="rId4" Type="http://schemas.openxmlformats.org/officeDocument/2006/relationships/slideLayout" Target="../slideLayouts/slideLayout47.xml"/><Relationship Id="rId9" Type="http://schemas.openxmlformats.org/officeDocument/2006/relationships/slideLayout" Target="../slideLayouts/slideLayout5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57.xml"/><Relationship Id="rId7" Type="http://schemas.openxmlformats.org/officeDocument/2006/relationships/slideLayout" Target="../slideLayouts/slideLayout6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56.xml"/><Relationship Id="rId1" Type="http://schemas.openxmlformats.org/officeDocument/2006/relationships/slideLayout" Target="../slideLayouts/slideLayout55.xml"/><Relationship Id="rId6" Type="http://schemas.openxmlformats.org/officeDocument/2006/relationships/slideLayout" Target="../slideLayouts/slideLayout60.xml"/><Relationship Id="rId11" Type="http://schemas.openxmlformats.org/officeDocument/2006/relationships/slideLayout" Target="../slideLayouts/slideLayout65.xml"/><Relationship Id="rId5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4.xml"/><Relationship Id="rId4" Type="http://schemas.openxmlformats.org/officeDocument/2006/relationships/slideLayout" Target="../slideLayouts/slideLayout58.xml"/><Relationship Id="rId9" Type="http://schemas.openxmlformats.org/officeDocument/2006/relationships/slideLayout" Target="../slideLayouts/slideLayout6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3.xml"/><Relationship Id="rId13" Type="http://schemas.openxmlformats.org/officeDocument/2006/relationships/theme" Target="../theme/theme6.xml"/><Relationship Id="rId3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2.xml"/><Relationship Id="rId12" Type="http://schemas.openxmlformats.org/officeDocument/2006/relationships/slideLayout" Target="../slideLayouts/slideLayout77.xml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slideLayout" Target="../slideLayouts/slideLayout71.xml"/><Relationship Id="rId11" Type="http://schemas.openxmlformats.org/officeDocument/2006/relationships/slideLayout" Target="../slideLayouts/slideLayout76.xml"/><Relationship Id="rId5" Type="http://schemas.openxmlformats.org/officeDocument/2006/relationships/slideLayout" Target="../slideLayouts/slideLayout70.xml"/><Relationship Id="rId10" Type="http://schemas.openxmlformats.org/officeDocument/2006/relationships/slideLayout" Target="../slideLayouts/slideLayout75.xml"/><Relationship Id="rId4" Type="http://schemas.openxmlformats.org/officeDocument/2006/relationships/slideLayout" Target="../slideLayouts/slideLayout69.xml"/><Relationship Id="rId9" Type="http://schemas.openxmlformats.org/officeDocument/2006/relationships/slideLayout" Target="../slideLayouts/slideLayout74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24000" y="6372000"/>
            <a:ext cx="11521500" cy="1588"/>
          </a:xfrm>
          <a:prstGeom prst="line">
            <a:avLst/>
          </a:prstGeom>
          <a:ln w="6350" cap="flat">
            <a:solidFill>
              <a:srgbClr val="0032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429D6300-579B-48C6-BB37-1DA636246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900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bearbeiten</a:t>
            </a:r>
            <a:br>
              <a:rPr lang="de-DE"/>
            </a:br>
            <a:r>
              <a:rPr lang="de-DE"/>
              <a:t>2. Zeile Headli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AB2FF65-DEF5-4CBB-A429-68E123675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4000" y="2462038"/>
            <a:ext cx="9000000" cy="38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ließtext erste 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BB7025D-4AD3-465E-8DF7-CE14C2057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rgbClr val="00325F"/>
                </a:solidFill>
              </a:defRPr>
            </a:lvl1pPr>
          </a:lstStyle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8" name="Grafik 17" descr="Logo-solo_1500px_transparent.png">
            <a:extLst>
              <a:ext uri="{FF2B5EF4-FFF2-40B4-BE49-F238E27FC236}">
                <a16:creationId xmlns:a16="http://schemas.microsoft.com/office/drawing/2014/main" id="{74E0079C-EE96-4365-A34F-284BB61027C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065544" y="6433200"/>
            <a:ext cx="792000" cy="250218"/>
          </a:xfrm>
          <a:prstGeom prst="rect">
            <a:avLst/>
          </a:prstGeom>
        </p:spPr>
      </p:pic>
      <p:sp>
        <p:nvSpPr>
          <p:cNvPr id="10" name="Fußzeilenplatzhalter 15">
            <a:extLst>
              <a:ext uri="{FF2B5EF4-FFF2-40B4-BE49-F238E27FC236}">
                <a16:creationId xmlns:a16="http://schemas.microsoft.com/office/drawing/2014/main" id="{031762CF-6584-44E1-86FF-415EA3128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>
            <a:lvl1pPr algn="r">
              <a:defRPr sz="1050"/>
            </a:lvl1pPr>
          </a:lstStyle>
          <a:p>
            <a:r>
              <a:rPr lang="de-DE" dirty="0"/>
              <a:t>Abteilung 10/11 Organisationsentwicklung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7" r:id="rId2"/>
    <p:sldLayoutId id="2147483670" r:id="rId3"/>
    <p:sldLayoutId id="2147483657" r:id="rId4"/>
    <p:sldLayoutId id="2147483668" r:id="rId5"/>
    <p:sldLayoutId id="2147483675" r:id="rId6"/>
    <p:sldLayoutId id="2147483671" r:id="rId7"/>
    <p:sldLayoutId id="2147483672" r:id="rId8"/>
    <p:sldLayoutId id="2147483676" r:id="rId9"/>
    <p:sldLayoutId id="2147483673" r:id="rId10"/>
    <p:sldLayoutId id="2147483674" r:id="rId11"/>
  </p:sldLayoutIdLst>
  <p:hf hdr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lang="de-DE" sz="2800" b="0" i="0" kern="1200" baseline="0" smtClean="0">
          <a:solidFill>
            <a:srgbClr val="005493"/>
          </a:solidFill>
          <a:latin typeface="+mj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300"/>
        </a:lnSpc>
        <a:spcBef>
          <a:spcPts val="0"/>
        </a:spcBef>
        <a:buFont typeface="Arial"/>
        <a:buNone/>
        <a:defRPr lang="de-DE" sz="1800" b="0" i="0" kern="1200" baseline="0" smtClean="0">
          <a:solidFill>
            <a:srgbClr val="00325F"/>
          </a:solidFill>
          <a:latin typeface="+mn-lt"/>
          <a:ea typeface="+mn-ea"/>
          <a:cs typeface="Arial"/>
        </a:defRPr>
      </a:lvl1pPr>
      <a:lvl2pPr marL="216000" indent="-216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–"/>
        <a:defRPr lang="de-DE" sz="1800" kern="1200" smtClean="0">
          <a:solidFill>
            <a:srgbClr val="00325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24000" y="6372000"/>
            <a:ext cx="11521500" cy="1588"/>
          </a:xfrm>
          <a:prstGeom prst="line">
            <a:avLst/>
          </a:prstGeom>
          <a:ln w="6350" cap="flat">
            <a:solidFill>
              <a:srgbClr val="0032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429D6300-579B-48C6-BB37-1DA636246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900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bearbeiten</a:t>
            </a:r>
            <a:br>
              <a:rPr lang="de-DE"/>
            </a:br>
            <a:r>
              <a:rPr lang="de-DE"/>
              <a:t>2. Zeile Headli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AB2FF65-DEF5-4CBB-A429-68E123675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4000" y="2462038"/>
            <a:ext cx="9000000" cy="38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ließtext erste 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BB7025D-4AD3-465E-8DF7-CE14C2057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rgbClr val="00325F"/>
                </a:solidFill>
              </a:defRPr>
            </a:lvl1pPr>
          </a:lstStyle>
          <a:p>
            <a:fld id="{BF344DED-EFD9-43CF-B03F-63CB95A15DF8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18" name="Grafik 17" descr="Logo-solo_1500px_transparent.png">
            <a:extLst>
              <a:ext uri="{FF2B5EF4-FFF2-40B4-BE49-F238E27FC236}">
                <a16:creationId xmlns:a16="http://schemas.microsoft.com/office/drawing/2014/main" id="{74E0079C-EE96-4365-A34F-284BB61027C9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1065544" y="6433200"/>
            <a:ext cx="792000" cy="250218"/>
          </a:xfrm>
          <a:prstGeom prst="rect">
            <a:avLst/>
          </a:prstGeom>
        </p:spPr>
      </p:pic>
      <p:sp>
        <p:nvSpPr>
          <p:cNvPr id="19" name="Textfeld 18">
            <a:extLst>
              <a:ext uri="{FF2B5EF4-FFF2-40B4-BE49-F238E27FC236}">
                <a16:creationId xmlns:a16="http://schemas.microsoft.com/office/drawing/2014/main" id="{8CC207E9-BD1D-4564-B849-43A8D263688A}"/>
              </a:ext>
            </a:extLst>
          </p:cNvPr>
          <p:cNvSpPr txBox="1"/>
          <p:nvPr/>
        </p:nvSpPr>
        <p:spPr>
          <a:xfrm flipH="1">
            <a:off x="1188000" y="6407999"/>
            <a:ext cx="108000" cy="14400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de-DE" sz="800" dirty="0">
                <a:solidFill>
                  <a:srgbClr val="00325F"/>
                </a:solidFill>
                <a:latin typeface="+mn-lt"/>
                <a:cs typeface="Arial" pitchFamily="34" charset="0"/>
              </a:rPr>
              <a:t>|</a:t>
            </a:r>
            <a:endParaRPr lang="de-DE" sz="1050" dirty="0">
              <a:solidFill>
                <a:srgbClr val="00325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608441" y="6360402"/>
            <a:ext cx="678391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de-DE" sz="800" dirty="0"/>
              <a:t>17.06.2019</a:t>
            </a:r>
          </a:p>
        </p:txBody>
      </p:sp>
      <p:sp>
        <p:nvSpPr>
          <p:cNvPr id="10" name="Fußzeilenplatzhalter 15">
            <a:extLst>
              <a:ext uri="{FF2B5EF4-FFF2-40B4-BE49-F238E27FC236}">
                <a16:creationId xmlns:a16="http://schemas.microsoft.com/office/drawing/2014/main" id="{031762CF-6584-44E1-86FF-415EA3128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>
            <a:lvl1pPr algn="r">
              <a:defRPr sz="1050"/>
            </a:lvl1pPr>
          </a:lstStyle>
          <a:p>
            <a:r>
              <a:rPr lang="de-DE"/>
              <a:t>Veränderungswerkstatt DigA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93402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1" r:id="rId12"/>
    <p:sldLayoutId id="2147483692" r:id="rId13"/>
  </p:sldLayoutIdLst>
  <p:hf hdr="0" dt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lang="de-DE" sz="2800" b="0" i="0" kern="1200" baseline="0" smtClean="0">
          <a:solidFill>
            <a:srgbClr val="005493"/>
          </a:solidFill>
          <a:latin typeface="+mj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300"/>
        </a:lnSpc>
        <a:spcBef>
          <a:spcPts val="0"/>
        </a:spcBef>
        <a:buFont typeface="Arial"/>
        <a:buNone/>
        <a:defRPr lang="de-DE" sz="1800" b="0" i="0" kern="1200" baseline="0" smtClean="0">
          <a:solidFill>
            <a:srgbClr val="00325F"/>
          </a:solidFill>
          <a:latin typeface="+mn-lt"/>
          <a:ea typeface="+mn-ea"/>
          <a:cs typeface="Arial"/>
        </a:defRPr>
      </a:lvl1pPr>
      <a:lvl2pPr marL="216000" indent="-216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–"/>
        <a:defRPr lang="de-DE" sz="1800" kern="1200" smtClean="0">
          <a:solidFill>
            <a:srgbClr val="00325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5"/>
          <p:cNvSpPr txBox="1">
            <a:spLocks/>
          </p:cNvSpPr>
          <p:nvPr userDrawn="1"/>
        </p:nvSpPr>
        <p:spPr bwMode="gray">
          <a:xfrm>
            <a:off x="5129509" y="6237289"/>
            <a:ext cx="6552105" cy="381792"/>
          </a:xfrm>
          <a:prstGeom prst="rect">
            <a:avLst/>
          </a:prstGeom>
        </p:spPr>
        <p:txBody>
          <a:bodyPr wrap="none" lIns="0" tIns="0" rIns="0" bIns="0" anchor="b" anchorCtr="0"/>
          <a:lstStyle>
            <a:lvl1pPr>
              <a:defRPr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25" b="1" i="0" u="none" strike="noStrike" kern="1200" cap="none" spc="0" normalizeH="0" baseline="0" noProof="0" dirty="0">
                <a:ln>
                  <a:noFill/>
                </a:ln>
                <a:solidFill>
                  <a:srgbClr val="6B656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SEITE</a:t>
            </a:r>
            <a:r>
              <a:rPr kumimoji="0" lang="de-DE" sz="825" b="0" i="0" u="none" strike="noStrike" kern="1200" cap="none" spc="0" normalizeH="0" baseline="0" noProof="0" dirty="0">
                <a:ln>
                  <a:noFill/>
                </a:ln>
                <a:solidFill>
                  <a:srgbClr val="6B656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</a:t>
            </a:r>
            <a:fld id="{DA920B65-1EA1-4E7C-8C02-8EF7FE9A4E88}" type="slidenum">
              <a:rPr kumimoji="0" lang="de-DE" sz="825" b="1" i="0" u="none" strike="noStrike" kern="1200" cap="none" spc="0" normalizeH="0" baseline="0" noProof="0" smtClean="0">
                <a:ln>
                  <a:noFill/>
                </a:ln>
                <a:solidFill>
                  <a:srgbClr val="6B656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r>
              <a:rPr kumimoji="0" lang="de-DE" sz="825" b="1" i="0" u="none" strike="noStrike" kern="1200" cap="none" spc="0" normalizeH="0" baseline="0" noProof="0" dirty="0">
                <a:ln>
                  <a:noFill/>
                </a:ln>
                <a:solidFill>
                  <a:srgbClr val="6B6562"/>
                </a:solidFill>
                <a:effectLst/>
                <a:uLnTx/>
                <a:uFillTx/>
                <a:latin typeface="Arial" pitchFamily="34" charset="0"/>
                <a:ea typeface="+mn-ea"/>
                <a:cs typeface="+mn-cs"/>
              </a:rPr>
              <a:t> </a:t>
            </a:r>
          </a:p>
        </p:txBody>
      </p:sp>
      <p:sp>
        <p:nvSpPr>
          <p:cNvPr id="13" name="TextBox 7"/>
          <p:cNvSpPr txBox="1"/>
          <p:nvPr userDrawn="1"/>
        </p:nvSpPr>
        <p:spPr bwMode="gray">
          <a:xfrm>
            <a:off x="1664897" y="1368162"/>
            <a:ext cx="738623" cy="463564"/>
          </a:xfrm>
          <a:prstGeom prst="rect">
            <a:avLst/>
          </a:prstGeom>
          <a:noFill/>
        </p:spPr>
        <p:txBody>
          <a:bodyPr wrap="none" lIns="0" tIns="0" rIns="0" bIns="0" anchor="b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6B6562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_</a:t>
            </a:r>
            <a:endParaRPr kumimoji="0" lang="de-DE" sz="2400" b="1" i="0" u="none" strike="noStrike" kern="1200" cap="none" spc="0" normalizeH="0" baseline="0" noProof="0" dirty="0">
              <a:ln>
                <a:noFill/>
              </a:ln>
              <a:solidFill>
                <a:srgbClr val="6B656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7" name="Grafik 6" descr="Logo_1zeilig_3c_transparent.png"/>
          <p:cNvPicPr>
            <a:picLocks noChangeAspect="1"/>
          </p:cNvPicPr>
          <p:nvPr userDrawn="1"/>
        </p:nvPicPr>
        <p:blipFill>
          <a:blip r:embed="rId21"/>
          <a:stretch>
            <a:fillRect/>
          </a:stretch>
        </p:blipFill>
        <p:spPr>
          <a:xfrm>
            <a:off x="1632658" y="6467120"/>
            <a:ext cx="3102805" cy="1432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975351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5" r:id="rId1"/>
    <p:sldLayoutId id="2147483696" r:id="rId2"/>
    <p:sldLayoutId id="2147483697" r:id="rId3"/>
    <p:sldLayoutId id="2147483698" r:id="rId4"/>
    <p:sldLayoutId id="2147483699" r:id="rId5"/>
    <p:sldLayoutId id="2147483700" r:id="rId6"/>
    <p:sldLayoutId id="2147483701" r:id="rId7"/>
    <p:sldLayoutId id="2147483702" r:id="rId8"/>
    <p:sldLayoutId id="2147483703" r:id="rId9"/>
    <p:sldLayoutId id="2147483704" r:id="rId10"/>
    <p:sldLayoutId id="2147483705" r:id="rId11"/>
    <p:sldLayoutId id="2147483706" r:id="rId12"/>
    <p:sldLayoutId id="2147483707" r:id="rId13"/>
    <p:sldLayoutId id="2147483708" r:id="rId14"/>
    <p:sldLayoutId id="2147483709" r:id="rId15"/>
    <p:sldLayoutId id="2147483710" r:id="rId16"/>
    <p:sldLayoutId id="2147483711" r:id="rId17"/>
    <p:sldLayoutId id="2147483712" r:id="rId18"/>
    <p:sldLayoutId id="2147483713" r:id="rId19"/>
  </p:sldLayoutIdLst>
  <p:hf hdr="0" ftr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5pPr>
      <a:lvl6pPr marL="3429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6pPr>
      <a:lvl7pPr marL="6858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7pPr>
      <a:lvl8pPr marL="10287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8pPr>
      <a:lvl9pPr marL="1371600" algn="ctr" rtl="0" eaLnBrk="1" fontAlgn="base" hangingPunct="1">
        <a:spcBef>
          <a:spcPct val="0"/>
        </a:spcBef>
        <a:spcAft>
          <a:spcPct val="0"/>
        </a:spcAft>
        <a:defRPr sz="3300">
          <a:solidFill>
            <a:schemeClr val="tx1"/>
          </a:solidFill>
          <a:latin typeface="Akkurat" pitchFamily="2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57213" indent="-214313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rtl="0" eaLnBrk="0" fontAlgn="base" hangingPunct="0">
        <a:spcBef>
          <a:spcPct val="20000"/>
        </a:spcBef>
        <a:spcAft>
          <a:spcPct val="0"/>
        </a:spcAft>
        <a:buFont typeface="Symbol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24000" y="6372000"/>
            <a:ext cx="11521500" cy="1588"/>
          </a:xfrm>
          <a:prstGeom prst="line">
            <a:avLst/>
          </a:prstGeom>
          <a:ln w="6350" cap="flat">
            <a:solidFill>
              <a:srgbClr val="0032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429D6300-579B-48C6-BB37-1DA636246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900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bearbeiten</a:t>
            </a:r>
            <a:br>
              <a:rPr lang="de-DE"/>
            </a:br>
            <a:r>
              <a:rPr lang="de-DE"/>
              <a:t>2. Zeile Headli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AB2FF65-DEF5-4CBB-A429-68E123675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4000" y="2462038"/>
            <a:ext cx="9000000" cy="38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ließtext erste 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sp>
        <p:nvSpPr>
          <p:cNvPr id="16" name="Foliennummernplatzhalter 15">
            <a:extLst>
              <a:ext uri="{FF2B5EF4-FFF2-40B4-BE49-F238E27FC236}">
                <a16:creationId xmlns:a16="http://schemas.microsoft.com/office/drawing/2014/main" id="{4BB7025D-4AD3-465E-8DF7-CE14C2057A8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000" y="6408000"/>
            <a:ext cx="252000" cy="144000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>
                <a:solidFill>
                  <a:srgbClr val="00325F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F344DED-EFD9-43CF-B03F-63CB95A15DF8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srgbClr val="00325F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800" b="0" i="0" u="none" strike="noStrike" kern="1200" cap="none" spc="0" normalizeH="0" baseline="0" noProof="0" dirty="0">
              <a:ln>
                <a:noFill/>
              </a:ln>
              <a:solidFill>
                <a:srgbClr val="00325F"/>
              </a:solidFill>
              <a:effectLst/>
              <a:uLnTx/>
              <a:uFillTx/>
              <a:latin typeface="Segoe UI"/>
              <a:ea typeface="+mn-ea"/>
              <a:cs typeface="+mn-cs"/>
            </a:endParaRPr>
          </a:p>
        </p:txBody>
      </p:sp>
      <p:pic>
        <p:nvPicPr>
          <p:cNvPr id="18" name="Grafik 17" descr="Logo-solo_1500px_transparent.png">
            <a:extLst>
              <a:ext uri="{FF2B5EF4-FFF2-40B4-BE49-F238E27FC236}">
                <a16:creationId xmlns:a16="http://schemas.microsoft.com/office/drawing/2014/main" id="{74E0079C-EE96-4365-A34F-284BB61027C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065544" y="6433200"/>
            <a:ext cx="792000" cy="250218"/>
          </a:xfrm>
          <a:prstGeom prst="rect">
            <a:avLst/>
          </a:prstGeom>
        </p:spPr>
      </p:pic>
      <p:sp>
        <p:nvSpPr>
          <p:cNvPr id="10" name="Fußzeilenplatzhalter 15">
            <a:extLst>
              <a:ext uri="{FF2B5EF4-FFF2-40B4-BE49-F238E27FC236}">
                <a16:creationId xmlns:a16="http://schemas.microsoft.com/office/drawing/2014/main" id="{031762CF-6584-44E1-86FF-415EA3128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>
            <a:lvl1pPr algn="r">
              <a:defRPr sz="105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</p:txBody>
      </p:sp>
    </p:spTree>
    <p:extLst>
      <p:ext uri="{BB962C8B-B14F-4D97-AF65-F5344CB8AC3E}">
        <p14:creationId xmlns:p14="http://schemas.microsoft.com/office/powerpoint/2010/main" val="33314320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</p:sldLayoutIdLst>
  <p:hf hdr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lang="de-DE" sz="2800" b="0" i="0" kern="1200" baseline="0" smtClean="0">
          <a:solidFill>
            <a:srgbClr val="005493"/>
          </a:solidFill>
          <a:latin typeface="+mj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300"/>
        </a:lnSpc>
        <a:spcBef>
          <a:spcPts val="0"/>
        </a:spcBef>
        <a:buFont typeface="Arial"/>
        <a:buNone/>
        <a:defRPr lang="de-DE" sz="1800" b="0" i="0" kern="1200" baseline="0" smtClean="0">
          <a:solidFill>
            <a:srgbClr val="00325F"/>
          </a:solidFill>
          <a:latin typeface="+mn-lt"/>
          <a:ea typeface="+mn-ea"/>
          <a:cs typeface="Arial"/>
        </a:defRPr>
      </a:lvl1pPr>
      <a:lvl2pPr marL="216000" indent="-216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–"/>
        <a:defRPr lang="de-DE" sz="1800" kern="1200" smtClean="0">
          <a:solidFill>
            <a:srgbClr val="00325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24000" y="6372000"/>
            <a:ext cx="11521500" cy="1588"/>
          </a:xfrm>
          <a:prstGeom prst="line">
            <a:avLst/>
          </a:prstGeom>
          <a:ln w="6350" cap="flat">
            <a:solidFill>
              <a:srgbClr val="0032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429D6300-579B-48C6-BB37-1DA636246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900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bearbeiten</a:t>
            </a:r>
            <a:br>
              <a:rPr lang="de-DE"/>
            </a:br>
            <a:r>
              <a:rPr lang="de-DE"/>
              <a:t>2. Zeile Headli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AB2FF65-DEF5-4CBB-A429-68E123675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4000" y="2462038"/>
            <a:ext cx="9000000" cy="38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ließtext erste 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pic>
        <p:nvPicPr>
          <p:cNvPr id="18" name="Grafik 17" descr="Logo-solo_1500px_transparent.png">
            <a:extLst>
              <a:ext uri="{FF2B5EF4-FFF2-40B4-BE49-F238E27FC236}">
                <a16:creationId xmlns:a16="http://schemas.microsoft.com/office/drawing/2014/main" id="{74E0079C-EE96-4365-A34F-284BB61027C9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065544" y="6433200"/>
            <a:ext cx="792000" cy="250218"/>
          </a:xfrm>
          <a:prstGeom prst="rect">
            <a:avLst/>
          </a:prstGeom>
        </p:spPr>
      </p:pic>
      <p:sp>
        <p:nvSpPr>
          <p:cNvPr id="10" name="Fußzeilenplatzhalter 15">
            <a:extLst>
              <a:ext uri="{FF2B5EF4-FFF2-40B4-BE49-F238E27FC236}">
                <a16:creationId xmlns:a16="http://schemas.microsoft.com/office/drawing/2014/main" id="{031762CF-6584-44E1-86FF-415EA3128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>
            <a:lvl1pPr algn="r">
              <a:defRPr sz="105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</p:txBody>
      </p:sp>
    </p:spTree>
    <p:extLst>
      <p:ext uri="{BB962C8B-B14F-4D97-AF65-F5344CB8AC3E}">
        <p14:creationId xmlns:p14="http://schemas.microsoft.com/office/powerpoint/2010/main" val="3438278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7" r:id="rId1"/>
    <p:sldLayoutId id="2147483728" r:id="rId2"/>
    <p:sldLayoutId id="2147483729" r:id="rId3"/>
    <p:sldLayoutId id="2147483730" r:id="rId4"/>
    <p:sldLayoutId id="2147483731" r:id="rId5"/>
    <p:sldLayoutId id="2147483732" r:id="rId6"/>
    <p:sldLayoutId id="2147483733" r:id="rId7"/>
    <p:sldLayoutId id="2147483734" r:id="rId8"/>
    <p:sldLayoutId id="2147483735" r:id="rId9"/>
    <p:sldLayoutId id="2147483736" r:id="rId10"/>
    <p:sldLayoutId id="2147483737" r:id="rId11"/>
  </p:sldLayoutIdLst>
  <p:hf hdr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lang="de-DE" sz="2800" b="0" i="0" kern="1200" baseline="0" smtClean="0">
          <a:solidFill>
            <a:srgbClr val="005493"/>
          </a:solidFill>
          <a:latin typeface="+mj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300"/>
        </a:lnSpc>
        <a:spcBef>
          <a:spcPts val="0"/>
        </a:spcBef>
        <a:buFont typeface="Arial"/>
        <a:buNone/>
        <a:defRPr lang="de-DE" sz="1800" b="0" i="0" kern="1200" baseline="0" smtClean="0">
          <a:solidFill>
            <a:srgbClr val="00325F"/>
          </a:solidFill>
          <a:latin typeface="+mn-lt"/>
          <a:ea typeface="+mn-ea"/>
          <a:cs typeface="Arial"/>
        </a:defRPr>
      </a:lvl1pPr>
      <a:lvl2pPr marL="216000" indent="-216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–"/>
        <a:defRPr lang="de-DE" sz="1800" kern="1200" smtClean="0">
          <a:solidFill>
            <a:srgbClr val="00325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7" name="Straight Connector 6"/>
          <p:cNvCxnSpPr/>
          <p:nvPr/>
        </p:nvCxnSpPr>
        <p:spPr>
          <a:xfrm>
            <a:off x="324000" y="6372000"/>
            <a:ext cx="11521500" cy="1588"/>
          </a:xfrm>
          <a:prstGeom prst="line">
            <a:avLst/>
          </a:prstGeom>
          <a:ln w="6350" cap="flat">
            <a:solidFill>
              <a:srgbClr val="00325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" name="Titelplatzhalter 10">
            <a:extLst>
              <a:ext uri="{FF2B5EF4-FFF2-40B4-BE49-F238E27FC236}">
                <a16:creationId xmlns:a16="http://schemas.microsoft.com/office/drawing/2014/main" id="{429D6300-579B-48C6-BB37-1DA6362462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4000" y="432000"/>
            <a:ext cx="9000000" cy="93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de-DE"/>
              <a:t>Headline bearbeiten</a:t>
            </a:r>
            <a:br>
              <a:rPr lang="de-DE"/>
            </a:br>
            <a:r>
              <a:rPr lang="de-DE"/>
              <a:t>2. Zeile Headline</a:t>
            </a:r>
            <a:endParaRPr lang="de-DE" dirty="0"/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0AB2FF65-DEF5-4CBB-A429-68E123675D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584000" y="2462038"/>
            <a:ext cx="9000000" cy="3816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Fließtext erste Ebene, durch Klicken bearbeiten</a:t>
            </a:r>
          </a:p>
          <a:p>
            <a:pPr lvl="1"/>
            <a:r>
              <a:rPr lang="de-DE" dirty="0"/>
              <a:t>2. Textebene (Listendarstellung) durch Verwenden der ‚Einrücken-Taste‘</a:t>
            </a:r>
          </a:p>
        </p:txBody>
      </p:sp>
      <p:pic>
        <p:nvPicPr>
          <p:cNvPr id="18" name="Grafik 17" descr="Logo-solo_1500px_transparent.png">
            <a:extLst>
              <a:ext uri="{FF2B5EF4-FFF2-40B4-BE49-F238E27FC236}">
                <a16:creationId xmlns:a16="http://schemas.microsoft.com/office/drawing/2014/main" id="{74E0079C-EE96-4365-A34F-284BB61027C9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1065544" y="6433200"/>
            <a:ext cx="792000" cy="250218"/>
          </a:xfrm>
          <a:prstGeom prst="rect">
            <a:avLst/>
          </a:prstGeom>
        </p:spPr>
      </p:pic>
      <p:sp>
        <p:nvSpPr>
          <p:cNvPr id="10" name="Fußzeilenplatzhalter 15">
            <a:extLst>
              <a:ext uri="{FF2B5EF4-FFF2-40B4-BE49-F238E27FC236}">
                <a16:creationId xmlns:a16="http://schemas.microsoft.com/office/drawing/2014/main" id="{031762CF-6584-44E1-86FF-415EA31281B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96000" y="6408000"/>
            <a:ext cx="9288000" cy="144000"/>
          </a:xfrm>
          <a:prstGeom prst="rect">
            <a:avLst/>
          </a:prstGeom>
        </p:spPr>
        <p:txBody>
          <a:bodyPr/>
          <a:lstStyle>
            <a:lvl1pPr algn="r">
              <a:defRPr sz="1050"/>
            </a:lvl1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Segoe UI"/>
                <a:ea typeface="+mn-ea"/>
                <a:cs typeface="+mn-cs"/>
              </a:rPr>
              <a:t>Abteilung 10/11 Organisationsentwicklung</a:t>
            </a:r>
          </a:p>
        </p:txBody>
      </p:sp>
    </p:spTree>
    <p:extLst>
      <p:ext uri="{BB962C8B-B14F-4D97-AF65-F5344CB8AC3E}">
        <p14:creationId xmlns:p14="http://schemas.microsoft.com/office/powerpoint/2010/main" val="5219782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7" r:id="rId9"/>
    <p:sldLayoutId id="2147483748" r:id="rId10"/>
    <p:sldLayoutId id="2147483749" r:id="rId11"/>
    <p:sldLayoutId id="2147483750" r:id="rId12"/>
  </p:sldLayoutIdLst>
  <p:hf hdr="0"/>
  <p:txStyles>
    <p:titleStyle>
      <a:lvl1pPr algn="l" defTabSz="457200" rtl="0" eaLnBrk="1" latinLnBrk="0" hangingPunct="1">
        <a:lnSpc>
          <a:spcPts val="3200"/>
        </a:lnSpc>
        <a:spcBef>
          <a:spcPct val="0"/>
        </a:spcBef>
        <a:buNone/>
        <a:defRPr lang="de-DE" sz="2800" b="0" i="0" kern="1200" baseline="0" smtClean="0">
          <a:solidFill>
            <a:srgbClr val="005493"/>
          </a:solidFill>
          <a:latin typeface="+mj-lt"/>
          <a:ea typeface="+mj-ea"/>
          <a:cs typeface="Arial"/>
        </a:defRPr>
      </a:lvl1pPr>
    </p:titleStyle>
    <p:bodyStyle>
      <a:lvl1pPr marL="0" indent="0" algn="l" defTabSz="457200" rtl="0" eaLnBrk="1" latinLnBrk="0" hangingPunct="1">
        <a:lnSpc>
          <a:spcPts val="2300"/>
        </a:lnSpc>
        <a:spcBef>
          <a:spcPts val="0"/>
        </a:spcBef>
        <a:buFont typeface="Arial"/>
        <a:buNone/>
        <a:defRPr lang="de-DE" sz="1800" b="0" i="0" kern="1200" baseline="0" smtClean="0">
          <a:solidFill>
            <a:srgbClr val="00325F"/>
          </a:solidFill>
          <a:latin typeface="+mn-lt"/>
          <a:ea typeface="+mn-ea"/>
          <a:cs typeface="Arial"/>
        </a:defRPr>
      </a:lvl1pPr>
      <a:lvl2pPr marL="216000" indent="-216000" algn="l" defTabSz="457200" rtl="0" eaLnBrk="1" latinLnBrk="0" hangingPunct="1">
        <a:lnSpc>
          <a:spcPts val="2300"/>
        </a:lnSpc>
        <a:spcBef>
          <a:spcPct val="20000"/>
        </a:spcBef>
        <a:buFont typeface="Arial"/>
        <a:buChar char="–"/>
        <a:defRPr lang="de-DE" sz="1800" kern="1200" smtClean="0">
          <a:solidFill>
            <a:srgbClr val="00325F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7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D906E69-90FD-76AC-184B-B645E475C6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Leistungs-</a:t>
            </a:r>
            <a:r>
              <a:rPr lang="de-DE" dirty="0" err="1"/>
              <a:t>Blueprint</a:t>
            </a:r>
            <a:endParaRPr lang="de-DE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BB56BDE1-BB88-96E2-BE1B-6586ABE2AD1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Ein visuelles Tool, mit dem der Leistungsprozess aus der Perspektive der </a:t>
            </a:r>
            <a:r>
              <a:rPr lang="de-DE" dirty="0" err="1"/>
              <a:t>Kund:innen</a:t>
            </a:r>
            <a:r>
              <a:rPr lang="de-DE" dirty="0"/>
              <a:t> dargestellt und optimiert werden kann.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F24C7A1-D706-4CEE-6F8B-51F17076954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1</a:t>
            </a:fld>
            <a:endParaRPr lang="de-DE" dirty="0"/>
          </a:p>
        </p:txBody>
      </p:sp>
      <p:pic>
        <p:nvPicPr>
          <p:cNvPr id="11" name="Grafik 10" descr="Maschinengetriebe">
            <a:extLst>
              <a:ext uri="{FF2B5EF4-FFF2-40B4-BE49-F238E27FC236}">
                <a16:creationId xmlns:a16="http://schemas.microsoft.com/office/drawing/2014/main" id="{5435F2AC-705F-FCEA-5514-753326DBE0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726487" y="245397"/>
            <a:ext cx="3986670" cy="2657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67037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9D93C88B-7E4D-086B-297B-42FD7B9FE1D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84000" y="1052736"/>
            <a:ext cx="9000000" cy="814390"/>
          </a:xfrm>
        </p:spPr>
        <p:txBody>
          <a:bodyPr/>
          <a:lstStyle/>
          <a:p>
            <a:r>
              <a:rPr lang="de-DE" dirty="0"/>
              <a:t>Beim Leistungs-</a:t>
            </a:r>
            <a:r>
              <a:rPr lang="de-DE" dirty="0" err="1"/>
              <a:t>Blueprint</a:t>
            </a:r>
            <a:r>
              <a:rPr lang="de-DE" dirty="0"/>
              <a:t> wird ein Prozess konsequent aus Sicht der </a:t>
            </a:r>
            <a:r>
              <a:rPr lang="de-DE" dirty="0" err="1"/>
              <a:t>Kund:innen</a:t>
            </a:r>
            <a:r>
              <a:rPr lang="de-DE" dirty="0"/>
              <a:t> visuell darzustellen, um besser zu verstehen, wie </a:t>
            </a:r>
            <a:r>
              <a:rPr lang="de-DE" dirty="0" err="1"/>
              <a:t>Kund:innen</a:t>
            </a:r>
            <a:r>
              <a:rPr lang="de-DE" dirty="0"/>
              <a:t> die Serviceleistung wahrnehmen und an welchen Stellen Optimierungspotenziale sind.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D4EB443-78CA-73CB-4F72-D7194B3B271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Methodisches Vorgeh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60AF4AB-D45A-3D95-5742-C750139ABE3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584000" y="2246376"/>
            <a:ext cx="9481346" cy="3816000"/>
          </a:xfrm>
        </p:spPr>
        <p:txBody>
          <a:bodyPr/>
          <a:lstStyle/>
          <a:p>
            <a:r>
              <a:rPr lang="de-DE" sz="1400" dirty="0"/>
              <a:t>Die Ebene der </a:t>
            </a:r>
            <a:r>
              <a:rPr lang="de-DE" sz="1400" b="1" dirty="0"/>
              <a:t>Kundenaktivitäten</a:t>
            </a:r>
            <a:r>
              <a:rPr lang="de-DE" sz="1400" dirty="0"/>
              <a:t> ist die zentrale Ebene während der Leistungserbringung. Sie umfasst alles vom ersten Kontakt bis zur Erbringung des Ergebnisses und spiegelt die Reise der </a:t>
            </a:r>
            <a:r>
              <a:rPr lang="de-DE" sz="1400" dirty="0" err="1"/>
              <a:t>Kund:innen</a:t>
            </a:r>
            <a:r>
              <a:rPr lang="de-DE" sz="1400" dirty="0"/>
              <a:t> wider.</a:t>
            </a:r>
          </a:p>
          <a:p>
            <a:r>
              <a:rPr lang="de-DE" sz="1000" dirty="0"/>
              <a:t> </a:t>
            </a:r>
            <a:endParaRPr lang="de-DE" sz="100" dirty="0"/>
          </a:p>
          <a:p>
            <a:r>
              <a:rPr lang="de-DE" sz="1400" dirty="0"/>
              <a:t>Die </a:t>
            </a:r>
            <a:r>
              <a:rPr lang="de-DE" sz="1400" b="1" dirty="0"/>
              <a:t>Frontstage-Aktivitäten </a:t>
            </a:r>
            <a:r>
              <a:rPr lang="de-DE" sz="1400" dirty="0"/>
              <a:t>sind Aktionen und Handlungen, die von den Mitarbeitenden aus 10/11 heraus direkt bei den </a:t>
            </a:r>
            <a:r>
              <a:rPr lang="de-DE" sz="1400" dirty="0" err="1"/>
              <a:t>Kund:innen</a:t>
            </a:r>
            <a:r>
              <a:rPr lang="de-DE" sz="1400" dirty="0"/>
              <a:t> erbracht wird. Wichtig ist, dass diese Handlungen für die </a:t>
            </a:r>
            <a:r>
              <a:rPr lang="de-DE" sz="1400" dirty="0" err="1"/>
              <a:t>Kund:innen</a:t>
            </a:r>
            <a:r>
              <a:rPr lang="de-DE" sz="1400" dirty="0"/>
              <a:t> sichtbar sind und damit einen großen Einfluss auf die Zufriedenheit der </a:t>
            </a:r>
            <a:r>
              <a:rPr lang="de-DE" sz="1400" dirty="0" err="1"/>
              <a:t>Kund:innen</a:t>
            </a:r>
            <a:r>
              <a:rPr lang="de-DE" sz="1400" dirty="0"/>
              <a:t> hat.</a:t>
            </a:r>
          </a:p>
          <a:p>
            <a:endParaRPr lang="de-DE" sz="1400" dirty="0"/>
          </a:p>
          <a:p>
            <a:r>
              <a:rPr lang="de-DE" sz="1400" dirty="0"/>
              <a:t>Die </a:t>
            </a:r>
            <a:r>
              <a:rPr lang="de-DE" sz="1400" b="1" dirty="0"/>
              <a:t>Backstage-Aktivitäten</a:t>
            </a:r>
            <a:r>
              <a:rPr lang="de-DE" sz="1400" dirty="0"/>
              <a:t> finden unter der Sichtbarkeitslinie der </a:t>
            </a:r>
            <a:r>
              <a:rPr lang="de-DE" sz="1400" dirty="0" err="1"/>
              <a:t>Kund:innen</a:t>
            </a:r>
            <a:r>
              <a:rPr lang="de-DE" sz="1400" dirty="0"/>
              <a:t> statt. Sie tragen wesentlich dazu bei, dass die Leistungserbringung reibungslos und effizient stattfinden kann.</a:t>
            </a:r>
          </a:p>
          <a:p>
            <a:endParaRPr lang="de-DE" sz="1400" dirty="0"/>
          </a:p>
          <a:p>
            <a:r>
              <a:rPr lang="de-DE" sz="1400" dirty="0"/>
              <a:t>Reflexionsfragen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ie lange ist der Zeitraum zwischen der ersten Interaktion mit </a:t>
            </a:r>
            <a:r>
              <a:rPr lang="de-DE" sz="1400" dirty="0" err="1"/>
              <a:t>dem:der</a:t>
            </a:r>
            <a:r>
              <a:rPr lang="de-DE" sz="1400" dirty="0"/>
              <a:t> </a:t>
            </a:r>
            <a:r>
              <a:rPr lang="de-DE" sz="1400" dirty="0" err="1"/>
              <a:t>Kund:in</a:t>
            </a:r>
            <a:r>
              <a:rPr lang="de-DE" sz="1400" dirty="0"/>
              <a:t> und der Lieferung des Ergebnisses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Wo entstehen in der Interaktion potenzielle Schmerzpunkte bei den </a:t>
            </a:r>
            <a:r>
              <a:rPr lang="de-DE" sz="1400" dirty="0" err="1"/>
              <a:t>Kund:innen</a:t>
            </a:r>
            <a:r>
              <a:rPr lang="de-DE" sz="1400" dirty="0"/>
              <a:t>?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sz="1400" dirty="0"/>
              <a:t>An welchen Stellen kann das </a:t>
            </a:r>
            <a:r>
              <a:rPr lang="de-DE" sz="1400" dirty="0" err="1"/>
              <a:t>Kund:innenerlebnis</a:t>
            </a:r>
            <a:r>
              <a:rPr lang="de-DE" sz="1400" dirty="0"/>
              <a:t> verbessert werden?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41D8F481-FD39-7AF5-010A-6C03114818FB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BF344DED-EFD9-43CF-B03F-63CB95A15DF8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361099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>
            <a:off x="695324" y="4218936"/>
            <a:ext cx="10368000" cy="12405"/>
          </a:xfrm>
          <a:prstGeom prst="line">
            <a:avLst/>
          </a:prstGeom>
          <a:ln w="19050"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36701" y="1248185"/>
            <a:ext cx="8775066" cy="1327963"/>
            <a:chOff x="222738" y="1105190"/>
            <a:chExt cx="11700089" cy="1770617"/>
          </a:xfrm>
        </p:grpSpPr>
        <p:sp>
          <p:nvSpPr>
            <p:cNvPr id="17" name="Rectangle 16"/>
            <p:cNvSpPr/>
            <p:nvPr/>
          </p:nvSpPr>
          <p:spPr>
            <a:xfrm>
              <a:off x="222738" y="1113083"/>
              <a:ext cx="1096108" cy="1762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Kunden-aktivitäten</a:t>
              </a: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/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andlungs-schritt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643472" y="1113083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764269" y="1113083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9885066" y="1105190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733245" y="2741771"/>
            <a:ext cx="8794620" cy="1345661"/>
            <a:chOff x="222738" y="2982635"/>
            <a:chExt cx="11726162" cy="1794215"/>
          </a:xfrm>
        </p:grpSpPr>
        <p:sp>
          <p:nvSpPr>
            <p:cNvPr id="24" name="Rectangle 23"/>
            <p:cNvSpPr/>
            <p:nvPr/>
          </p:nvSpPr>
          <p:spPr>
            <a:xfrm>
              <a:off x="222738" y="3014126"/>
              <a:ext cx="1096108" cy="1762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rontstage-Aktivitä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5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uchpoints</a:t>
              </a: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, mit denen der Kunde interagiert und deren jeweilige Leistungen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401879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522675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643470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780274" y="3006204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911138" y="2982635"/>
              <a:ext cx="2037762" cy="176272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34621" y="4127564"/>
            <a:ext cx="1017732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none" spc="0" normalizeH="0" baseline="0" noProof="0" dirty="0">
                <a:ln>
                  <a:noFill/>
                </a:ln>
                <a:solidFill>
                  <a:srgbClr val="EE71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ichtbarkeitslinie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695323" y="2688699"/>
            <a:ext cx="10368000" cy="1240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34621" y="2602568"/>
            <a:ext cx="1017732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none" spc="0" normalizeH="0" baseline="0" noProof="0" dirty="0">
                <a:ln>
                  <a:noFill/>
                </a:ln>
                <a:solidFill>
                  <a:srgbClr val="EE71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aktionslinie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697592" y="4307723"/>
            <a:ext cx="7272003" cy="1355617"/>
            <a:chOff x="704828" y="4338677"/>
            <a:chExt cx="7207866" cy="1333503"/>
          </a:xfrm>
        </p:grpSpPr>
        <p:sp>
          <p:nvSpPr>
            <p:cNvPr id="31" name="Rectangle 30"/>
            <p:cNvSpPr/>
            <p:nvPr/>
          </p:nvSpPr>
          <p:spPr>
            <a:xfrm>
              <a:off x="704828" y="4338677"/>
              <a:ext cx="822081" cy="13220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ackstage-Aktivitä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ötige interne </a:t>
              </a:r>
              <a:r>
                <a:rPr kumimoji="0" lang="de-DE" sz="675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andlungsschrit-te</a:t>
              </a: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, Prozesse, Ressourcen und Technologien, um die Kunden-aktivitäten und Interaktionen zu ermöglichen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589184" y="4338677"/>
              <a:ext cx="1528321" cy="132204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384373" y="4350139"/>
              <a:ext cx="1528321" cy="1322041"/>
            </a:xfrm>
            <a:prstGeom prst="rect">
              <a:avLst/>
            </a:prstGeom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e-DE" sz="105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794256" y="4350138"/>
              <a:ext cx="1528321" cy="132204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de-DE" sz="1050" dirty="0">
                <a:solidFill>
                  <a:prstClr val="black"/>
                </a:solidFill>
                <a:latin typeface="+mj-lt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179530" y="4338677"/>
              <a:ext cx="1528321" cy="1322041"/>
            </a:xfrm>
            <a:prstGeom prst="rect">
              <a:avLst/>
            </a:prstGeom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1368746" y="335308"/>
            <a:ext cx="8400456" cy="4131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360000">
              <a:defRPr/>
            </a:pP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Leistungs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-Blueprint: </a:t>
            </a: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Titel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 der </a:t>
            </a: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Leistung</a:t>
            </a:r>
            <a:endParaRPr kumimoji="0" lang="de-DE" sz="1042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C6E41F35-AB84-4659-A6DB-4B561F1F3B9A}"/>
              </a:ext>
            </a:extLst>
          </p:cNvPr>
          <p:cNvSpPr/>
          <p:nvPr/>
        </p:nvSpPr>
        <p:spPr>
          <a:xfrm>
            <a:off x="1634139" y="1254105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de-DE" sz="1050" dirty="0">
              <a:solidFill>
                <a:prstClr val="black"/>
              </a:solidFill>
            </a:endParaRPr>
          </a:p>
        </p:txBody>
      </p:sp>
      <p:sp>
        <p:nvSpPr>
          <p:cNvPr id="12" name="Rectangle 44">
            <a:extLst>
              <a:ext uri="{FF2B5EF4-FFF2-40B4-BE49-F238E27FC236}">
                <a16:creationId xmlns:a16="http://schemas.microsoft.com/office/drawing/2014/main" id="{B524C030-5651-444C-B1AC-35B043316452}"/>
              </a:ext>
            </a:extLst>
          </p:cNvPr>
          <p:cNvSpPr/>
          <p:nvPr/>
        </p:nvSpPr>
        <p:spPr>
          <a:xfrm>
            <a:off x="8058699" y="4330336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C6E41F35-AB84-4659-A6DB-4B561F1F3B9A}"/>
              </a:ext>
            </a:extLst>
          </p:cNvPr>
          <p:cNvSpPr/>
          <p:nvPr/>
        </p:nvSpPr>
        <p:spPr>
          <a:xfrm>
            <a:off x="3224736" y="1274876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endParaRPr lang="de-DE" sz="1050" dirty="0">
              <a:solidFill>
                <a:prstClr val="black"/>
              </a:solidFill>
            </a:endParaRP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2208362" y="2274032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03447950-3A56-435E-88F4-175C97DF2AB1}"/>
              </a:ext>
            </a:extLst>
          </p:cNvPr>
          <p:cNvCxnSpPr/>
          <p:nvPr/>
        </p:nvCxnSpPr>
        <p:spPr>
          <a:xfrm>
            <a:off x="2967368" y="4941168"/>
            <a:ext cx="4224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03447950-3A56-435E-88F4-175C97DF2AB1}"/>
              </a:ext>
            </a:extLst>
          </p:cNvPr>
          <p:cNvCxnSpPr/>
          <p:nvPr/>
        </p:nvCxnSpPr>
        <p:spPr>
          <a:xfrm>
            <a:off x="4563677" y="4941168"/>
            <a:ext cx="4224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 flipV="1">
            <a:off x="5559613" y="2317569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 flipV="1">
            <a:off x="5559613" y="3887516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2279430" y="3924452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3447950-3A56-435E-88F4-175C97DF2AB1}"/>
              </a:ext>
            </a:extLst>
          </p:cNvPr>
          <p:cNvCxnSpPr/>
          <p:nvPr/>
        </p:nvCxnSpPr>
        <p:spPr>
          <a:xfrm>
            <a:off x="6181647" y="1844824"/>
            <a:ext cx="4224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D616CEFC-7BBA-669F-5B4A-01586D5F4918}"/>
              </a:ext>
            </a:extLst>
          </p:cNvPr>
          <p:cNvSpPr/>
          <p:nvPr/>
        </p:nvSpPr>
        <p:spPr>
          <a:xfrm rot="20265188">
            <a:off x="50124" y="202859"/>
            <a:ext cx="1290397" cy="74673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Vorlage</a:t>
            </a:r>
          </a:p>
        </p:txBody>
      </p:sp>
    </p:spTree>
    <p:extLst>
      <p:ext uri="{BB962C8B-B14F-4D97-AF65-F5344CB8AC3E}">
        <p14:creationId xmlns:p14="http://schemas.microsoft.com/office/powerpoint/2010/main" val="3497218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>
            <a:off x="695324" y="4218936"/>
            <a:ext cx="10368000" cy="12405"/>
          </a:xfrm>
          <a:prstGeom prst="line">
            <a:avLst/>
          </a:prstGeom>
          <a:ln w="19050"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36701" y="1248185"/>
            <a:ext cx="8775066" cy="1327963"/>
            <a:chOff x="222738" y="1105190"/>
            <a:chExt cx="11700089" cy="1770617"/>
          </a:xfrm>
        </p:grpSpPr>
        <p:sp>
          <p:nvSpPr>
            <p:cNvPr id="17" name="Rectangle 16"/>
            <p:cNvSpPr/>
            <p:nvPr/>
          </p:nvSpPr>
          <p:spPr>
            <a:xfrm>
              <a:off x="222738" y="1113083"/>
              <a:ext cx="1096108" cy="1762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Kunden-aktivitäten</a:t>
              </a: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/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andlungs-schritt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643472" y="1113083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Durchführung Dienstreise mit zugewiesenem Fahrzeug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764269" y="1113083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9885066" y="1105190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733245" y="2741771"/>
            <a:ext cx="8794620" cy="1345661"/>
            <a:chOff x="222738" y="2982635"/>
            <a:chExt cx="11726162" cy="1794215"/>
          </a:xfrm>
        </p:grpSpPr>
        <p:sp>
          <p:nvSpPr>
            <p:cNvPr id="24" name="Rectangle 23"/>
            <p:cNvSpPr/>
            <p:nvPr/>
          </p:nvSpPr>
          <p:spPr>
            <a:xfrm>
              <a:off x="222738" y="3014126"/>
              <a:ext cx="1096108" cy="1762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rontstage-Aktivitä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5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uchpoints</a:t>
              </a: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, mit denen der Kunde interagiert und deren jeweilige Leistungen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401879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Mobilitätsbeauftragte:r</a:t>
              </a:r>
              <a:r>
                <a:rPr kumimoji="0" lang="de-DE" sz="105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Fuhrpark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Prüfung und Registrierung Führerschein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522675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643470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50" noProof="0" dirty="0">
                  <a:solidFill>
                    <a:prstClr val="black"/>
                  </a:solidFill>
                  <a:latin typeface="+mj-lt"/>
                </a:rPr>
                <a:t>Eingaben bei der Fahrzeugrückgabe werden durch das System verarbeitet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780274" y="3006204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911138" y="2982635"/>
              <a:ext cx="2037762" cy="176272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34621" y="4127564"/>
            <a:ext cx="1017732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none" spc="0" normalizeH="0" baseline="0" noProof="0" dirty="0">
                <a:ln>
                  <a:noFill/>
                </a:ln>
                <a:solidFill>
                  <a:srgbClr val="EE71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ichtbarkeitslinie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695323" y="2688699"/>
            <a:ext cx="10368000" cy="1240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34621" y="2602568"/>
            <a:ext cx="1017732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none" spc="0" normalizeH="0" baseline="0" noProof="0" dirty="0">
                <a:ln>
                  <a:noFill/>
                </a:ln>
                <a:solidFill>
                  <a:srgbClr val="EE71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aktionslinie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697592" y="4307723"/>
            <a:ext cx="7272003" cy="1355617"/>
            <a:chOff x="704828" y="4338677"/>
            <a:chExt cx="7207866" cy="1333503"/>
          </a:xfrm>
        </p:grpSpPr>
        <p:sp>
          <p:nvSpPr>
            <p:cNvPr id="31" name="Rectangle 30"/>
            <p:cNvSpPr/>
            <p:nvPr/>
          </p:nvSpPr>
          <p:spPr>
            <a:xfrm>
              <a:off x="704828" y="4338677"/>
              <a:ext cx="822081" cy="13220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ackstage-Aktivitä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ötige interne </a:t>
              </a:r>
              <a:r>
                <a:rPr kumimoji="0" lang="de-DE" sz="675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andlungsschrit-te</a:t>
              </a: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, Prozesse, Ressourcen und Technologien, um die Kunden-aktivitäten und Interaktionen zu ermöglichen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1589184" y="4338677"/>
              <a:ext cx="1528321" cy="132204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reigabe System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Rolle wird zugewiesen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384373" y="4350139"/>
              <a:ext cx="1528321" cy="1322041"/>
            </a:xfrm>
            <a:prstGeom prst="rect">
              <a:avLst/>
            </a:prstGeom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Daten werden für die Quartalsabrechnung für die Fachabteilungen aufbereitet und verrechnet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794256" y="4350138"/>
              <a:ext cx="1528321" cy="132204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Fahrzeug wird nach Rückgabe begutachtet und gepflegt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3179530" y="4338677"/>
              <a:ext cx="1528321" cy="1322041"/>
            </a:xfrm>
            <a:prstGeom prst="rect">
              <a:avLst/>
            </a:prstGeom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1368746" y="335308"/>
            <a:ext cx="8400456" cy="4131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360000">
              <a:defRPr/>
            </a:pP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Leistungs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-Blueprint: </a:t>
            </a: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Nutzung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Selbstfahrer</a:t>
            </a:r>
            <a:endParaRPr kumimoji="0" lang="de-DE" sz="1042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C6E41F35-AB84-4659-A6DB-4B561F1F3B9A}"/>
              </a:ext>
            </a:extLst>
          </p:cNvPr>
          <p:cNvSpPr/>
          <p:nvPr/>
        </p:nvSpPr>
        <p:spPr>
          <a:xfrm>
            <a:off x="1634139" y="1254105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de-DE" sz="1050" dirty="0">
                <a:solidFill>
                  <a:prstClr val="black"/>
                </a:solidFill>
              </a:rPr>
              <a:t>Anmeldung KEMAS (Fuhrparkmanagementsystem)</a:t>
            </a:r>
          </a:p>
        </p:txBody>
      </p:sp>
      <p:sp>
        <p:nvSpPr>
          <p:cNvPr id="12" name="Rectangle 44">
            <a:extLst>
              <a:ext uri="{FF2B5EF4-FFF2-40B4-BE49-F238E27FC236}">
                <a16:creationId xmlns:a16="http://schemas.microsoft.com/office/drawing/2014/main" id="{B524C030-5651-444C-B1AC-35B043316452}"/>
              </a:ext>
            </a:extLst>
          </p:cNvPr>
          <p:cNvSpPr/>
          <p:nvPr/>
        </p:nvSpPr>
        <p:spPr>
          <a:xfrm>
            <a:off x="8058699" y="4330336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C6E41F35-AB84-4659-A6DB-4B561F1F3B9A}"/>
              </a:ext>
            </a:extLst>
          </p:cNvPr>
          <p:cNvSpPr/>
          <p:nvPr/>
        </p:nvSpPr>
        <p:spPr>
          <a:xfrm>
            <a:off x="3224736" y="1274876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de-DE" sz="1050" dirty="0">
                <a:solidFill>
                  <a:prstClr val="black"/>
                </a:solidFill>
              </a:rPr>
              <a:t>Fahrzeugbuchung nach Eingabe Parameter</a:t>
            </a:r>
          </a:p>
        </p:txBody>
      </p:sp>
      <p:sp>
        <p:nvSpPr>
          <p:cNvPr id="3" name="Textfeld 2"/>
          <p:cNvSpPr txBox="1"/>
          <p:nvPr/>
        </p:nvSpPr>
        <p:spPr>
          <a:xfrm rot="20495590">
            <a:off x="3179911" y="1015770"/>
            <a:ext cx="1398215" cy="441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de-DE" sz="1100" dirty="0">
                <a:solidFill>
                  <a:prstClr val="black"/>
                </a:solidFill>
              </a:rPr>
              <a:t>Voraussetzung DR-Genehmigung</a:t>
            </a:r>
            <a:endParaRPr lang="de-DE" sz="1100" dirty="0"/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2208362" y="2274032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" name="Grafik 54">
            <a:extLst>
              <a:ext uri="{FF2B5EF4-FFF2-40B4-BE49-F238E27FC236}">
                <a16:creationId xmlns:a16="http://schemas.microsoft.com/office/drawing/2014/main" id="{7A700039-F256-4657-99C7-07647CD428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1170" y="2154810"/>
            <a:ext cx="243861" cy="749873"/>
          </a:xfrm>
          <a:prstGeom prst="rect">
            <a:avLst/>
          </a:prstGeom>
        </p:spPr>
      </p:pic>
      <p:cxnSp>
        <p:nvCxnSpPr>
          <p:cNvPr id="57" name="Gerade Verbindung mit Pfeil 56">
            <a:extLst>
              <a:ext uri="{FF2B5EF4-FFF2-40B4-BE49-F238E27FC236}">
                <a16:creationId xmlns:a16="http://schemas.microsoft.com/office/drawing/2014/main" id="{03447950-3A56-435E-88F4-175C97DF2AB1}"/>
              </a:ext>
            </a:extLst>
          </p:cNvPr>
          <p:cNvCxnSpPr/>
          <p:nvPr/>
        </p:nvCxnSpPr>
        <p:spPr>
          <a:xfrm>
            <a:off x="2967368" y="2154810"/>
            <a:ext cx="4224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6" name="Gerade Verbindung mit Pfeil 55">
            <a:extLst>
              <a:ext uri="{FF2B5EF4-FFF2-40B4-BE49-F238E27FC236}">
                <a16:creationId xmlns:a16="http://schemas.microsoft.com/office/drawing/2014/main" id="{03447950-3A56-435E-88F4-175C97DF2AB1}"/>
              </a:ext>
            </a:extLst>
          </p:cNvPr>
          <p:cNvCxnSpPr/>
          <p:nvPr/>
        </p:nvCxnSpPr>
        <p:spPr>
          <a:xfrm>
            <a:off x="4563677" y="2154810"/>
            <a:ext cx="4224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8" name="Gerade Verbindung mit Pfeil 57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5559613" y="2317569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59" name="Gerade Verbindung mit Pfeil 58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5559613" y="3887516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2279430" y="3924452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1" name="Gerade Verbindung mit Pfeil 60">
            <a:extLst>
              <a:ext uri="{FF2B5EF4-FFF2-40B4-BE49-F238E27FC236}">
                <a16:creationId xmlns:a16="http://schemas.microsoft.com/office/drawing/2014/main" id="{03447950-3A56-435E-88F4-175C97DF2AB1}"/>
              </a:ext>
            </a:extLst>
          </p:cNvPr>
          <p:cNvCxnSpPr/>
          <p:nvPr/>
        </p:nvCxnSpPr>
        <p:spPr>
          <a:xfrm>
            <a:off x="6181647" y="5301208"/>
            <a:ext cx="422404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hteck: abgerundete Ecken 6">
            <a:extLst>
              <a:ext uri="{FF2B5EF4-FFF2-40B4-BE49-F238E27FC236}">
                <a16:creationId xmlns:a16="http://schemas.microsoft.com/office/drawing/2014/main" id="{FFABB1B0-4477-45E5-47BA-E3C8E0ADC8CB}"/>
              </a:ext>
            </a:extLst>
          </p:cNvPr>
          <p:cNvSpPr/>
          <p:nvPr/>
        </p:nvSpPr>
        <p:spPr>
          <a:xfrm rot="20265188">
            <a:off x="50124" y="202859"/>
            <a:ext cx="1290397" cy="74673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eispiel 1</a:t>
            </a:r>
          </a:p>
        </p:txBody>
      </p:sp>
    </p:spTree>
    <p:extLst>
      <p:ext uri="{BB962C8B-B14F-4D97-AF65-F5344CB8AC3E}">
        <p14:creationId xmlns:p14="http://schemas.microsoft.com/office/powerpoint/2010/main" val="337387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7" name="Straight Connector 36"/>
          <p:cNvCxnSpPr/>
          <p:nvPr/>
        </p:nvCxnSpPr>
        <p:spPr>
          <a:xfrm>
            <a:off x="695324" y="4218936"/>
            <a:ext cx="10368000" cy="12405"/>
          </a:xfrm>
          <a:prstGeom prst="line">
            <a:avLst/>
          </a:prstGeom>
          <a:ln w="19050">
            <a:solidFill>
              <a:schemeClr val="accent4"/>
            </a:solidFill>
            <a:prstDash val="lg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" name="Group 15"/>
          <p:cNvGrpSpPr/>
          <p:nvPr/>
        </p:nvGrpSpPr>
        <p:grpSpPr>
          <a:xfrm>
            <a:off x="736701" y="1248185"/>
            <a:ext cx="8775066" cy="1327963"/>
            <a:chOff x="222738" y="1105190"/>
            <a:chExt cx="11700089" cy="1770617"/>
          </a:xfrm>
        </p:grpSpPr>
        <p:sp>
          <p:nvSpPr>
            <p:cNvPr id="17" name="Rectangle 16"/>
            <p:cNvSpPr/>
            <p:nvPr/>
          </p:nvSpPr>
          <p:spPr>
            <a:xfrm>
              <a:off x="222738" y="1113083"/>
              <a:ext cx="1096108" cy="1762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Kunden-aktivitäten</a:t>
              </a: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/>
              </a:r>
              <a:b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</a:b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andlungs-schritte</a:t>
              </a:r>
            </a:p>
          </p:txBody>
        </p:sp>
        <p:sp>
          <p:nvSpPr>
            <p:cNvPr id="20" name="Rectangle 19"/>
            <p:cNvSpPr/>
            <p:nvPr/>
          </p:nvSpPr>
          <p:spPr>
            <a:xfrm>
              <a:off x="5643472" y="1113083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>
              <a:off x="7764269" y="1113083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2" name="Rectangle 21"/>
            <p:cNvSpPr/>
            <p:nvPr/>
          </p:nvSpPr>
          <p:spPr>
            <a:xfrm>
              <a:off x="9885066" y="1105190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733245" y="2741771"/>
            <a:ext cx="8794620" cy="1345661"/>
            <a:chOff x="222738" y="2982635"/>
            <a:chExt cx="11726162" cy="1794215"/>
          </a:xfrm>
        </p:grpSpPr>
        <p:sp>
          <p:nvSpPr>
            <p:cNvPr id="24" name="Rectangle 23"/>
            <p:cNvSpPr/>
            <p:nvPr/>
          </p:nvSpPr>
          <p:spPr>
            <a:xfrm>
              <a:off x="222738" y="3014126"/>
              <a:ext cx="1096108" cy="1762724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Frontstage-Aktivitä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5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Touchpoints</a:t>
              </a: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, mit denen der Kunde interagiert und deren jeweilige Leistungen</a:t>
              </a: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401878" y="3014124"/>
              <a:ext cx="2059812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de-DE" sz="1050" dirty="0" err="1">
                  <a:solidFill>
                    <a:prstClr val="black"/>
                  </a:solidFill>
                </a:rPr>
                <a:t>Mobilitätsbeauftragte:r</a:t>
              </a:r>
              <a:r>
                <a:rPr lang="de-DE" sz="1050" dirty="0">
                  <a:solidFill>
                    <a:prstClr val="black"/>
                  </a:solidFill>
                </a:rPr>
                <a:t> </a:t>
              </a:r>
              <a:r>
                <a:rPr kumimoji="0" lang="de-DE" sz="105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rPr>
                <a:t>ÖPNV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</a:rPr>
                <a:t>Prüfung und Weitergabe der Daten </a:t>
              </a:r>
            </a:p>
          </p:txBody>
        </p:sp>
        <p:sp>
          <p:nvSpPr>
            <p:cNvPr id="27" name="Rectangle 26"/>
            <p:cNvSpPr/>
            <p:nvPr/>
          </p:nvSpPr>
          <p:spPr>
            <a:xfrm>
              <a:off x="3522675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>
              <a:off x="5643470" y="3014125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780274" y="3006204"/>
              <a:ext cx="2037761" cy="1762724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>
              <a:off x="9911138" y="2982635"/>
              <a:ext cx="2037762" cy="1762725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634621" y="4127564"/>
            <a:ext cx="1017732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none" spc="0" normalizeH="0" baseline="0" noProof="0" dirty="0">
                <a:ln>
                  <a:noFill/>
                </a:ln>
                <a:solidFill>
                  <a:srgbClr val="EE71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Sichtbarkeitslinie</a:t>
            </a:r>
          </a:p>
        </p:txBody>
      </p:sp>
      <p:cxnSp>
        <p:nvCxnSpPr>
          <p:cNvPr id="39" name="Straight Connector 38"/>
          <p:cNvCxnSpPr/>
          <p:nvPr/>
        </p:nvCxnSpPr>
        <p:spPr>
          <a:xfrm>
            <a:off x="695323" y="2713377"/>
            <a:ext cx="10368000" cy="12405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/>
          <p:cNvSpPr txBox="1"/>
          <p:nvPr/>
        </p:nvSpPr>
        <p:spPr>
          <a:xfrm>
            <a:off x="634621" y="2602568"/>
            <a:ext cx="1017732" cy="20774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750" b="1" i="0" u="none" strike="noStrike" kern="1200" cap="none" spc="0" normalizeH="0" baseline="0" noProof="0" dirty="0">
                <a:ln>
                  <a:noFill/>
                </a:ln>
                <a:solidFill>
                  <a:srgbClr val="EE7100"/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Interaktionslinie</a:t>
            </a:r>
          </a:p>
        </p:txBody>
      </p:sp>
      <p:grpSp>
        <p:nvGrpSpPr>
          <p:cNvPr id="5" name="Gruppieren 4"/>
          <p:cNvGrpSpPr/>
          <p:nvPr/>
        </p:nvGrpSpPr>
        <p:grpSpPr>
          <a:xfrm>
            <a:off x="697592" y="4297847"/>
            <a:ext cx="7272003" cy="1365497"/>
            <a:chOff x="704828" y="4328959"/>
            <a:chExt cx="7207866" cy="1343221"/>
          </a:xfrm>
        </p:grpSpPr>
        <p:sp>
          <p:nvSpPr>
            <p:cNvPr id="31" name="Rectangle 30"/>
            <p:cNvSpPr/>
            <p:nvPr/>
          </p:nvSpPr>
          <p:spPr>
            <a:xfrm>
              <a:off x="704828" y="4338677"/>
              <a:ext cx="822081" cy="1322041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9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Backstage-Aktivitäten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Nötige interne </a:t>
              </a:r>
              <a:r>
                <a:rPr kumimoji="0" lang="de-DE" sz="675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andlungsschrit-te</a:t>
              </a:r>
              <a:r>
                <a:rPr kumimoji="0" lang="de-DE" sz="675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, Prozesse, Ressourcen und Technologien, um die Kunden-aktivitäten und Interaktionen zu ermöglichen</a:t>
              </a: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204140" y="4331390"/>
              <a:ext cx="1528321" cy="1322041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Daten gehen ans</a:t>
              </a:r>
              <a:r>
                <a:rPr kumimoji="0" lang="de-DE" sz="105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HCM-Team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HCM-Management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Verarbeitet Buchung in der Gehaltszahlung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6384373" y="4350139"/>
              <a:ext cx="1528321" cy="1322041"/>
            </a:xfrm>
            <a:prstGeom prst="rect">
              <a:avLst/>
            </a:prstGeom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>
                <a:defRPr/>
              </a:pPr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Abgleich Rechnung mit Gehaltszahlungen durch </a:t>
              </a:r>
              <a:r>
                <a:rPr lang="de-DE" sz="1050" dirty="0" err="1">
                  <a:solidFill>
                    <a:prstClr val="black"/>
                  </a:solidFill>
                </a:rPr>
                <a:t>Mobilitätsbeauftragte:r</a:t>
              </a:r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 ÖPNV</a:t>
              </a: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4794256" y="4350138"/>
              <a:ext cx="1528321" cy="1322042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de-DE" sz="1050" dirty="0">
                  <a:solidFill>
                    <a:prstClr val="black"/>
                  </a:solidFill>
                  <a:latin typeface="+mj-lt"/>
                </a:rPr>
                <a:t>Stadtwerke MS stellt Rechnung aus, LWL begleicht die Rechnung</a:t>
              </a: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1603243" y="4328959"/>
              <a:ext cx="1528321" cy="1322041"/>
            </a:xfrm>
            <a:prstGeom prst="rect">
              <a:avLst/>
            </a:prstGeom>
            <a:ln w="6350"/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105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Stadtwerke MS stellt das</a:t>
              </a:r>
              <a:r>
                <a:rPr kumimoji="0" lang="de-DE" sz="1050" b="0" i="0" u="none" strike="noStrike" kern="1200" cap="none" spc="0" normalizeH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+mj-lt"/>
                  <a:ea typeface="+mn-ea"/>
                  <a:cs typeface="+mn-cs"/>
                </a:rPr>
                <a:t> Ticket aus und versendet es an den Kunden</a:t>
              </a:r>
              <a:endParaRPr kumimoji="0" lang="de-DE" sz="10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43" name="TextBox 42"/>
          <p:cNvSpPr txBox="1"/>
          <p:nvPr/>
        </p:nvSpPr>
        <p:spPr>
          <a:xfrm>
            <a:off x="1368746" y="335308"/>
            <a:ext cx="8400456" cy="4131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defTabSz="360000">
              <a:defRPr/>
            </a:pP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Leistungs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-Blueprint: </a:t>
            </a: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Buchung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 </a:t>
            </a:r>
            <a:r>
              <a:rPr lang="en-GB" sz="2085" b="1" dirty="0" err="1">
                <a:solidFill>
                  <a:schemeClr val="tx2"/>
                </a:solidFill>
                <a:latin typeface="+mj-lt"/>
              </a:rPr>
              <a:t>JobTicket</a:t>
            </a:r>
            <a:r>
              <a:rPr lang="en-GB" sz="2085" b="1" dirty="0">
                <a:solidFill>
                  <a:schemeClr val="tx2"/>
                </a:solidFill>
                <a:latin typeface="+mj-lt"/>
              </a:rPr>
              <a:t>/D-Ticket</a:t>
            </a:r>
            <a:endParaRPr kumimoji="0" lang="de-DE" sz="1042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53" name="Rectangle 17">
            <a:extLst>
              <a:ext uri="{FF2B5EF4-FFF2-40B4-BE49-F238E27FC236}">
                <a16:creationId xmlns:a16="http://schemas.microsoft.com/office/drawing/2014/main" id="{C6E41F35-AB84-4659-A6DB-4B561F1F3B9A}"/>
              </a:ext>
            </a:extLst>
          </p:cNvPr>
          <p:cNvSpPr/>
          <p:nvPr/>
        </p:nvSpPr>
        <p:spPr>
          <a:xfrm>
            <a:off x="1634139" y="1254105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de-DE" sz="1050" dirty="0" err="1">
                <a:solidFill>
                  <a:prstClr val="black"/>
                </a:solidFill>
              </a:rPr>
              <a:t>Intranetformular</a:t>
            </a:r>
            <a:r>
              <a:rPr lang="de-DE" sz="1050" dirty="0">
                <a:solidFill>
                  <a:prstClr val="black"/>
                </a:solidFill>
              </a:rPr>
              <a:t> ausfüllen und absenden</a:t>
            </a:r>
          </a:p>
        </p:txBody>
      </p:sp>
      <p:sp>
        <p:nvSpPr>
          <p:cNvPr id="12" name="Rectangle 44">
            <a:extLst>
              <a:ext uri="{FF2B5EF4-FFF2-40B4-BE49-F238E27FC236}">
                <a16:creationId xmlns:a16="http://schemas.microsoft.com/office/drawing/2014/main" id="{B524C030-5651-444C-B1AC-35B043316452}"/>
              </a:ext>
            </a:extLst>
          </p:cNvPr>
          <p:cNvSpPr/>
          <p:nvPr/>
        </p:nvSpPr>
        <p:spPr>
          <a:xfrm>
            <a:off x="8058699" y="4330336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05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52" name="Rectangle 17">
            <a:extLst>
              <a:ext uri="{FF2B5EF4-FFF2-40B4-BE49-F238E27FC236}">
                <a16:creationId xmlns:a16="http://schemas.microsoft.com/office/drawing/2014/main" id="{C6E41F35-AB84-4659-A6DB-4B561F1F3B9A}"/>
              </a:ext>
            </a:extLst>
          </p:cNvPr>
          <p:cNvSpPr/>
          <p:nvPr/>
        </p:nvSpPr>
        <p:spPr>
          <a:xfrm>
            <a:off x="3224736" y="1274876"/>
            <a:ext cx="1528321" cy="1322043"/>
          </a:xfrm>
          <a:prstGeom prst="rect">
            <a:avLst/>
          </a:prstGeom>
          <a:solidFill>
            <a:schemeClr val="bg1"/>
          </a:solidFill>
          <a:ln w="63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defRPr/>
            </a:pPr>
            <a:r>
              <a:rPr lang="de-DE" sz="1050" dirty="0">
                <a:solidFill>
                  <a:prstClr val="black"/>
                </a:solidFill>
              </a:rPr>
              <a:t>Kunde erhält Ticket</a:t>
            </a:r>
          </a:p>
        </p:txBody>
      </p:sp>
      <p:cxnSp>
        <p:nvCxnSpPr>
          <p:cNvPr id="6" name="Gerade Verbindung mit Pfeil 5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2208362" y="2274032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5" name="Grafik 54">
            <a:extLst>
              <a:ext uri="{FF2B5EF4-FFF2-40B4-BE49-F238E27FC236}">
                <a16:creationId xmlns:a16="http://schemas.microsoft.com/office/drawing/2014/main" id="{7A700039-F256-4657-99C7-07647CD428A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71170" y="2154810"/>
            <a:ext cx="243861" cy="749873"/>
          </a:xfrm>
          <a:prstGeom prst="rect">
            <a:avLst/>
          </a:prstGeom>
        </p:spPr>
      </p:pic>
      <p:cxnSp>
        <p:nvCxnSpPr>
          <p:cNvPr id="60" name="Gerade Verbindung mit Pfeil 59">
            <a:extLst>
              <a:ext uri="{FF2B5EF4-FFF2-40B4-BE49-F238E27FC236}">
                <a16:creationId xmlns:a16="http://schemas.microsoft.com/office/drawing/2014/main" id="{AC51D5DD-10FE-4905-88F7-FAFF87BC5AAC}"/>
              </a:ext>
            </a:extLst>
          </p:cNvPr>
          <p:cNvCxnSpPr>
            <a:cxnSpLocks/>
          </p:cNvCxnSpPr>
          <p:nvPr/>
        </p:nvCxnSpPr>
        <p:spPr>
          <a:xfrm>
            <a:off x="2279430" y="3924452"/>
            <a:ext cx="0" cy="585016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hteck: abgerundete Ecken 3">
            <a:extLst>
              <a:ext uri="{FF2B5EF4-FFF2-40B4-BE49-F238E27FC236}">
                <a16:creationId xmlns:a16="http://schemas.microsoft.com/office/drawing/2014/main" id="{5EC572A7-4290-8A96-C25D-E6D0C093E6C1}"/>
              </a:ext>
            </a:extLst>
          </p:cNvPr>
          <p:cNvSpPr/>
          <p:nvPr/>
        </p:nvSpPr>
        <p:spPr>
          <a:xfrm rot="20265188">
            <a:off x="50124" y="202859"/>
            <a:ext cx="1290397" cy="746734"/>
          </a:xfrm>
          <a:prstGeom prst="round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Beispiel 2</a:t>
            </a:r>
          </a:p>
        </p:txBody>
      </p:sp>
    </p:spTree>
    <p:extLst>
      <p:ext uri="{BB962C8B-B14F-4D97-AF65-F5344CB8AC3E}">
        <p14:creationId xmlns:p14="http://schemas.microsoft.com/office/powerpoint/2010/main" val="2777976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fb104aec-0db3-4588-9b8e-0cc35615dd66"/>
</p:tagLst>
</file>

<file path=ppt/theme/theme1.xml><?xml version="1.0" encoding="utf-8"?>
<a:theme xmlns:a="http://schemas.openxmlformats.org/drawingml/2006/main" name="Folie blanco">
  <a:themeElements>
    <a:clrScheme name="LWL 20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7A3E4"/>
      </a:accent1>
      <a:accent2>
        <a:srgbClr val="005493"/>
      </a:accent2>
      <a:accent3>
        <a:srgbClr val="9B182A"/>
      </a:accent3>
      <a:accent4>
        <a:srgbClr val="EE7100"/>
      </a:accent4>
      <a:accent5>
        <a:srgbClr val="B4B2B2"/>
      </a:accent5>
      <a:accent6>
        <a:srgbClr val="00325F"/>
      </a:accent6>
      <a:hlink>
        <a:srgbClr val="E3000F"/>
      </a:hlink>
      <a:folHlink>
        <a:srgbClr val="878185"/>
      </a:folHlink>
    </a:clrScheme>
    <a:fontScheme name="LWL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WL-Folien_allgemein_SUI_20190131_16-9.potx" id="{7228B345-243C-489C-9BBD-5ECC2146C5A0}" vid="{224D954C-E292-43B9-9431-510B268D1DD8}"/>
    </a:ext>
  </a:extLst>
</a:theme>
</file>

<file path=ppt/theme/theme2.xml><?xml version="1.0" encoding="utf-8"?>
<a:theme xmlns:a="http://schemas.openxmlformats.org/drawingml/2006/main" name="1_Folie blanco">
  <a:themeElements>
    <a:clrScheme name="LWL 20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7A3E4"/>
      </a:accent1>
      <a:accent2>
        <a:srgbClr val="005493"/>
      </a:accent2>
      <a:accent3>
        <a:srgbClr val="9B182A"/>
      </a:accent3>
      <a:accent4>
        <a:srgbClr val="EE7100"/>
      </a:accent4>
      <a:accent5>
        <a:srgbClr val="B4B2B2"/>
      </a:accent5>
      <a:accent6>
        <a:srgbClr val="00325F"/>
      </a:accent6>
      <a:hlink>
        <a:srgbClr val="E3000F"/>
      </a:hlink>
      <a:folHlink>
        <a:srgbClr val="878185"/>
      </a:folHlink>
    </a:clrScheme>
    <a:fontScheme name="LWL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WL-Folien_allgemein_SUI_20190131_16-9.potx" id="{7228B345-243C-489C-9BBD-5ECC2146C5A0}" vid="{224D954C-E292-43B9-9431-510B268D1DD8}"/>
    </a:ext>
  </a:extLst>
</a:theme>
</file>

<file path=ppt/theme/theme3.xml><?xml version="1.0" encoding="utf-8"?>
<a:theme xmlns:a="http://schemas.openxmlformats.org/drawingml/2006/main" name="Nordlicht">
  <a:themeElements>
    <a:clrScheme name="NORDLICHT">
      <a:dk1>
        <a:srgbClr val="FFFFFF"/>
      </a:dk1>
      <a:lt1>
        <a:srgbClr val="6B6562"/>
      </a:lt1>
      <a:dk2>
        <a:srgbClr val="C4BCB3"/>
      </a:dk2>
      <a:lt2>
        <a:srgbClr val="000000"/>
      </a:lt2>
      <a:accent1>
        <a:srgbClr val="C4BCB3"/>
      </a:accent1>
      <a:accent2>
        <a:srgbClr val="6B6562"/>
      </a:accent2>
      <a:accent3>
        <a:srgbClr val="A01517"/>
      </a:accent3>
      <a:accent4>
        <a:srgbClr val="608890"/>
      </a:accent4>
      <a:accent5>
        <a:srgbClr val="000000"/>
      </a:accent5>
      <a:accent6>
        <a:srgbClr val="6B6562"/>
      </a:accent6>
      <a:hlink>
        <a:srgbClr val="6B6562"/>
      </a:hlink>
      <a:folHlink>
        <a:srgbClr val="6B6562"/>
      </a:folHlink>
    </a:clrScheme>
    <a:fontScheme name="NORDLICHT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12700">
          <a:solidFill>
            <a:schemeClr val="accent1"/>
          </a:solidFill>
        </a:ln>
      </a:spPr>
      <a:bodyPr rtlCol="0" anchor="ctr"/>
      <a:lstStyle>
        <a:defPPr algn="ctr">
          <a:defRPr sz="2000" dirty="0" err="1" smtClean="0">
            <a:solidFill>
              <a:schemeClr val="accent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Folie blanco">
  <a:themeElements>
    <a:clrScheme name="LWL 20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7A3E4"/>
      </a:accent1>
      <a:accent2>
        <a:srgbClr val="005493"/>
      </a:accent2>
      <a:accent3>
        <a:srgbClr val="9B182A"/>
      </a:accent3>
      <a:accent4>
        <a:srgbClr val="EE7100"/>
      </a:accent4>
      <a:accent5>
        <a:srgbClr val="B4B2B2"/>
      </a:accent5>
      <a:accent6>
        <a:srgbClr val="00325F"/>
      </a:accent6>
      <a:hlink>
        <a:srgbClr val="E3000F"/>
      </a:hlink>
      <a:folHlink>
        <a:srgbClr val="878185"/>
      </a:folHlink>
    </a:clrScheme>
    <a:fontScheme name="LWL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WL-Folien_allgemein_SUI_20190131_16-9.potx" id="{7228B345-243C-489C-9BBD-5ECC2146C5A0}" vid="{224D954C-E292-43B9-9431-510B268D1DD8}"/>
    </a:ext>
  </a:extLst>
</a:theme>
</file>

<file path=ppt/theme/theme5.xml><?xml version="1.0" encoding="utf-8"?>
<a:theme xmlns:a="http://schemas.openxmlformats.org/drawingml/2006/main" name="3_Folie blanco">
  <a:themeElements>
    <a:clrScheme name="LWL 20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7A3E4"/>
      </a:accent1>
      <a:accent2>
        <a:srgbClr val="005493"/>
      </a:accent2>
      <a:accent3>
        <a:srgbClr val="9B182A"/>
      </a:accent3>
      <a:accent4>
        <a:srgbClr val="EE7100"/>
      </a:accent4>
      <a:accent5>
        <a:srgbClr val="B4B2B2"/>
      </a:accent5>
      <a:accent6>
        <a:srgbClr val="00325F"/>
      </a:accent6>
      <a:hlink>
        <a:srgbClr val="E3000F"/>
      </a:hlink>
      <a:folHlink>
        <a:srgbClr val="878185"/>
      </a:folHlink>
    </a:clrScheme>
    <a:fontScheme name="LWL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WL-Folien_allgemein_SUI_20190131_16-9.potx" id="{7228B345-243C-489C-9BBD-5ECC2146C5A0}" vid="{224D954C-E292-43B9-9431-510B268D1DD8}"/>
    </a:ext>
  </a:extLst>
</a:theme>
</file>

<file path=ppt/theme/theme6.xml><?xml version="1.0" encoding="utf-8"?>
<a:theme xmlns:a="http://schemas.openxmlformats.org/drawingml/2006/main" name="4_Folie blanco">
  <a:themeElements>
    <a:clrScheme name="LWL 2015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17A3E4"/>
      </a:accent1>
      <a:accent2>
        <a:srgbClr val="005493"/>
      </a:accent2>
      <a:accent3>
        <a:srgbClr val="9B182A"/>
      </a:accent3>
      <a:accent4>
        <a:srgbClr val="EE7100"/>
      </a:accent4>
      <a:accent5>
        <a:srgbClr val="B4B2B2"/>
      </a:accent5>
      <a:accent6>
        <a:srgbClr val="00325F"/>
      </a:accent6>
      <a:hlink>
        <a:srgbClr val="E3000F"/>
      </a:hlink>
      <a:folHlink>
        <a:srgbClr val="878185"/>
      </a:folHlink>
    </a:clrScheme>
    <a:fontScheme name="LWL Segoe UI">
      <a:majorFont>
        <a:latin typeface="Segoe UI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WL-Folien_allgemein_SUI_20190131_16-9.potx" id="{7228B345-243C-489C-9BBD-5ECC2146C5A0}" vid="{224D954C-E292-43B9-9431-510B268D1DD8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BC881708181E4549945FBF1804AAFE44" ma:contentTypeVersion="" ma:contentTypeDescription="Ein neues Dokument erstellen." ma:contentTypeScope="" ma:versionID="f2983ea1c14012c2d4598e7a8c2eae55">
  <xsd:schema xmlns:xsd="http://www.w3.org/2001/XMLSchema" xmlns:xs="http://www.w3.org/2001/XMLSchema" xmlns:p="http://schemas.microsoft.com/office/2006/metadata/properties" xmlns:ns2="51518db2-d5a2-438b-b34d-4f346610183e" targetNamespace="http://schemas.microsoft.com/office/2006/metadata/properties" ma:root="true" ma:fieldsID="f0dddc44789ed3cb31338436b0b66b0d" ns2:_="">
    <xsd:import namespace="51518db2-d5a2-438b-b34d-4f346610183e"/>
    <xsd:element name="properties">
      <xsd:complexType>
        <xsd:sequence>
          <xsd:element name="documentManagement">
            <xsd:complexType>
              <xsd:all>
                <xsd:element ref="ns2:Thema" minOccurs="0"/>
                <xsd:element ref="ns2:Dokumentenar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518db2-d5a2-438b-b34d-4f346610183e" elementFormDefault="qualified">
    <xsd:import namespace="http://schemas.microsoft.com/office/2006/documentManagement/types"/>
    <xsd:import namespace="http://schemas.microsoft.com/office/infopath/2007/PartnerControls"/>
    <xsd:element name="Thema" ma:index="1" nillable="true" ma:displayName="Thema" ma:default="Fachliche Information" ma:format="Dropdown" ma:indexed="true" ma:internalName="Thema">
      <xsd:simpleType>
        <xsd:union memberTypes="dms:Text">
          <xsd:simpleType>
            <xsd:restriction base="dms:Choice">
              <xsd:enumeration value="Fachliche Information"/>
              <xsd:enumeration value="Tagung und Veranstaltung"/>
              <xsd:enumeration value="Technische Information"/>
              <xsd:enumeration value="erstellte LWL Dokumente"/>
              <xsd:enumeration value="Projekt"/>
            </xsd:restriction>
          </xsd:simpleType>
        </xsd:union>
      </xsd:simpleType>
    </xsd:element>
    <xsd:element name="Dokumentenart" ma:index="2" nillable="true" ma:displayName="Dokumentenart" ma:default="Dokumentation" ma:format="Dropdown" ma:internalName="Dokumentenart">
      <xsd:simpleType>
        <xsd:restriction base="dms:Choice">
          <xsd:enumeration value="Dokumentation"/>
          <xsd:enumeration value="Protokoll"/>
          <xsd:enumeration value="Konzept"/>
          <xsd:enumeration value="Leitfaden"/>
          <xsd:enumeration value="Präsentation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4" ma:displayName="Inhaltstyp"/>
        <xsd:element ref="dc:title" minOccurs="0" maxOccurs="1" ma:index="3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hema xmlns="51518db2-d5a2-438b-b34d-4f346610183e">Projekt</Thema>
    <Dokumentenart xmlns="51518db2-d5a2-438b-b34d-4f346610183e">Präsentation</Dokumentenart>
  </documentManagement>
</p:properties>
</file>

<file path=customXml/itemProps1.xml><?xml version="1.0" encoding="utf-8"?>
<ds:datastoreItem xmlns:ds="http://schemas.openxmlformats.org/officeDocument/2006/customXml" ds:itemID="{7B9CA915-4818-41E8-90CF-62BAF22E5D8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1518db2-d5a2-438b-b34d-4f346610183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592EF2B-85A8-4C70-8674-A7615C8698E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A2134DD-3767-42C7-A80E-F49552ED0235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51518db2-d5a2-438b-b34d-4f346610183e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wl-folien_allgemein_sui_20190131_16-9</Template>
  <TotalTime>0</TotalTime>
  <Words>425</Words>
  <Application>Microsoft Office PowerPoint</Application>
  <PresentationFormat>Benutzerdefiniert</PresentationFormat>
  <Paragraphs>64</Paragraphs>
  <Slides>5</Slides>
  <Notes>0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6</vt:i4>
      </vt:variant>
      <vt:variant>
        <vt:lpstr>Folientitel</vt:lpstr>
      </vt:variant>
      <vt:variant>
        <vt:i4>5</vt:i4>
      </vt:variant>
    </vt:vector>
  </HeadingPairs>
  <TitlesOfParts>
    <vt:vector size="16" baseType="lpstr">
      <vt:lpstr>Akkurat</vt:lpstr>
      <vt:lpstr>Arial</vt:lpstr>
      <vt:lpstr>Calibri</vt:lpstr>
      <vt:lpstr>Segoe UI</vt:lpstr>
      <vt:lpstr>Symbol</vt:lpstr>
      <vt:lpstr>Folie blanco</vt:lpstr>
      <vt:lpstr>1_Folie blanco</vt:lpstr>
      <vt:lpstr>Nordlicht</vt:lpstr>
      <vt:lpstr>2_Folie blanco</vt:lpstr>
      <vt:lpstr>3_Folie blanco</vt:lpstr>
      <vt:lpstr>4_Folie blanco</vt:lpstr>
      <vt:lpstr>Leistungs-Blueprint</vt:lpstr>
      <vt:lpstr>Methodisches Vorgehen</vt:lpstr>
      <vt:lpstr>PowerPoint-Präsentation</vt:lpstr>
      <vt:lpstr>PowerPoint-Präsentation</vt:lpstr>
      <vt:lpstr>PowerPoint-Präsentation</vt:lpstr>
    </vt:vector>
  </TitlesOfParts>
  <Company>LW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gitaler Arbeitsplatz</dc:title>
  <dc:creator>Forbrig, Uta</dc:creator>
  <cp:lastModifiedBy>p021r403</cp:lastModifiedBy>
  <cp:revision>395</cp:revision>
  <dcterms:created xsi:type="dcterms:W3CDTF">2019-02-15T11:58:08Z</dcterms:created>
  <dcterms:modified xsi:type="dcterms:W3CDTF">2024-03-25T15:15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C881708181E4549945FBF1804AAFE44</vt:lpwstr>
  </property>
</Properties>
</file>